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ags/tag42.xml" ContentType="application/vnd.openxmlformats-officedocument.presentationml.tags+xml"/>
  <Override PartName="/ppt/notesSlides/notesSlide7.xml" ContentType="application/vnd.openxmlformats-officedocument.presentationml.notesSlide+xml"/>
  <Override PartName="/ppt/tags/tag43.xml" ContentType="application/vnd.openxmlformats-officedocument.presentationml.tags+xml"/>
  <Override PartName="/ppt/notesSlides/notesSlide8.xml" ContentType="application/vnd.openxmlformats-officedocument.presentationml.notesSlide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notesSlides/notesSlide11.xml" ContentType="application/vnd.openxmlformats-officedocument.presentationml.notesSlide+xml"/>
  <Override PartName="/ppt/tags/tag47.xml" ContentType="application/vnd.openxmlformats-officedocument.presentationml.tags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tags/tag49.xml" ContentType="application/vnd.openxmlformats-officedocument.presentationml.tags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2" r:id="rId4"/>
  </p:sldMasterIdLst>
  <p:notesMasterIdLst>
    <p:notesMasterId r:id="rId19"/>
  </p:notesMasterIdLst>
  <p:sldIdLst>
    <p:sldId id="838840796" r:id="rId5"/>
    <p:sldId id="838840798" r:id="rId6"/>
    <p:sldId id="838840789" r:id="rId7"/>
    <p:sldId id="838840794" r:id="rId8"/>
    <p:sldId id="838840795" r:id="rId9"/>
    <p:sldId id="838840790" r:id="rId10"/>
    <p:sldId id="838840781" r:id="rId11"/>
    <p:sldId id="838840799" r:id="rId12"/>
    <p:sldId id="838840797" r:id="rId13"/>
    <p:sldId id="838840800" r:id="rId14"/>
    <p:sldId id="838840793" r:id="rId15"/>
    <p:sldId id="838840801" r:id="rId16"/>
    <p:sldId id="838840802" r:id="rId17"/>
    <p:sldId id="838840803" r:id="rId18"/>
  </p:sldIdLst>
  <p:sldSz cx="18288000" cy="10287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Lato" panose="020F0502020204030203" pitchFamily="34" charset="0"/>
      <p:regular r:id="rId24"/>
      <p:bold r:id="rId25"/>
      <p:italic r:id="rId26"/>
      <p:boldItalic r:id="rId27"/>
    </p:embeddedFont>
    <p:embeddedFont>
      <p:font typeface="Manus" panose="020F0502020204030204" pitchFamily="34" charset="0"/>
      <p:regular r:id="rId28"/>
      <p:bold r:id="rId28"/>
      <p:italic r:id="rId28"/>
      <p:boldItalic r:id="rId29"/>
    </p:embeddedFont>
    <p:embeddedFont>
      <p:font typeface="Roboto Condensed Light" panose="020F0302020204030204" pitchFamily="34" charset="0"/>
      <p:regular r:id="rId30"/>
      <p:italic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854" autoAdjust="0"/>
    <p:restoredTop sz="96327" autoAdjust="0"/>
  </p:normalViewPr>
  <p:slideViewPr>
    <p:cSldViewPr>
      <p:cViewPr varScale="1">
        <p:scale>
          <a:sx n="85" d="100"/>
          <a:sy n="85" d="100"/>
        </p:scale>
        <p:origin x="116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7.fntdata"/><Relationship Id="rId3" Type="http://schemas.openxmlformats.org/officeDocument/2006/relationships/customXml" Target="../customXml/item3.xml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5.fntdata"/><Relationship Id="rId32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658243080625751"/>
          <c:y val="3.6395147313691506E-2"/>
          <c:w val="0.83212996389891691"/>
          <c:h val="0.9277874061236279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1929520508376660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F1-4D4B-A590-BE21B7015D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8.380000000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F1-4D4B-A590-BE21B7015D8E}"/>
            </c:ext>
          </c:extLst>
        </c:ser>
        <c:ser>
          <c:idx val="1"/>
          <c:order val="1"/>
          <c:spPr>
            <a:solidFill>
              <a:srgbClr val="DFE5EF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70941652224147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AF1-4D4B-A590-BE21B7015D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12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F1-4D4B-A590-BE21B7015D8E}"/>
            </c:ext>
          </c:extLst>
        </c:ser>
        <c:ser>
          <c:idx val="2"/>
          <c:order val="2"/>
          <c:spPr>
            <a:solidFill>
              <a:srgbClr val="6F8DB9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8238012709416522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AF1-4D4B-A590-BE21B7015D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3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AF1-4D4B-A590-BE21B7015D8E}"/>
            </c:ext>
          </c:extLst>
        </c:ser>
        <c:ser>
          <c:idx val="3"/>
          <c:order val="3"/>
          <c:spPr>
            <a:solidFill>
              <a:srgbClr val="364D6E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547082611207394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DK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AF1-4D4B-A590-BE21B7015D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16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AF1-4D4B-A590-BE21B7015D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989768111"/>
        <c:axId val="1"/>
      </c:barChart>
      <c:catAx>
        <c:axId val="9897681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DK"/>
          </a:p>
        </c:txPr>
        <c:crossAx val="989768111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E0507C-D388-D644-828A-4BDA03A093EF}" type="datetimeFigureOut">
              <a:rPr lang="da-DK" smtClean="0"/>
              <a:t>07.03.2023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84B85-DB3D-DD4D-9E57-7F331AD65C42}" type="slidenum">
              <a:rPr lang="da-DK" smtClean="0"/>
              <a:t>‹#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43206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048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469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84362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43223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6313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1918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3320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9626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60518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1057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00418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14254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94700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hove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B5BBD8-B235-4B6C-8A11-2B193697DD1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6755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3.bin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oleObject" Target="../embeddings/oleObject6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3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3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3401" y="2890991"/>
            <a:ext cx="2841198" cy="2816733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8259076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7032734"/>
            <a:ext cx="15544800" cy="122634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6838" y="6365185"/>
            <a:ext cx="15554325" cy="626270"/>
          </a:xfrm>
        </p:spPr>
        <p:txBody>
          <a:bodyPr/>
          <a:lstStyle>
            <a:lvl1pPr marL="0" indent="0" algn="ctr">
              <a:buNone/>
              <a:defRPr sz="5400" spc="450">
                <a:solidFill>
                  <a:srgbClr val="FEC315"/>
                </a:solidFill>
                <a:latin typeface="Manus" pitchFamily="2" charset="77"/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  <a:lvl4pPr marL="2057349" indent="0">
              <a:buNone/>
              <a:defRPr/>
            </a:lvl4pPr>
            <a:lvl5pPr marL="2743133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39339239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371599" y="2605088"/>
            <a:ext cx="486000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1371599" y="6884633"/>
            <a:ext cx="4860000" cy="382086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1371599" y="7490702"/>
            <a:ext cx="4860000" cy="1588859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BB17A48F-D994-4545-B295-8EE8A5B21356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2056400" y="2612378"/>
            <a:ext cx="486000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9" name="Pladsholder til tekst 3">
            <a:extLst>
              <a:ext uri="{FF2B5EF4-FFF2-40B4-BE49-F238E27FC236}">
                <a16:creationId xmlns:a16="http://schemas.microsoft.com/office/drawing/2014/main" id="{3CD64D60-5E84-7243-BF34-2F21889536C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056400" y="6891923"/>
            <a:ext cx="4860000" cy="382086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8FD379B-FB93-9441-B85B-2A8E307B6CF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056400" y="7497992"/>
            <a:ext cx="4860000" cy="1588859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713999" y="2612378"/>
            <a:ext cx="486000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13999" y="6891923"/>
            <a:ext cx="4860000" cy="382086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13999" y="7497992"/>
            <a:ext cx="4860000" cy="1588859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16473754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8288002" cy="10287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3966896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1" y="0"/>
            <a:ext cx="18292802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8595703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1" y="0"/>
            <a:ext cx="18292802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6295647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1" y="0"/>
            <a:ext cx="18292802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9609916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1" y="0"/>
            <a:ext cx="18292802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8973132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9" y="0"/>
            <a:ext cx="18278003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8506032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9" y="0"/>
            <a:ext cx="18278003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152009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9" y="0"/>
            <a:ext cx="18278003" cy="10290897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0787500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9" y="4761"/>
            <a:ext cx="18278003" cy="1028137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7525787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0" y="4761"/>
            <a:ext cx="18278000" cy="10281375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377575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371599" y="2605088"/>
            <a:ext cx="373472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1371599" y="6884631"/>
            <a:ext cx="3734720" cy="783110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1371599" y="7882569"/>
            <a:ext cx="3734720" cy="1196991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FDD04CEF-7D9C-8948-BB80-84CBD6883B2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304622" y="2605088"/>
            <a:ext cx="373472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3" name="Pladsholder til tekst 3">
            <a:extLst>
              <a:ext uri="{FF2B5EF4-FFF2-40B4-BE49-F238E27FC236}">
                <a16:creationId xmlns:a16="http://schemas.microsoft.com/office/drawing/2014/main" id="{5A670000-BB61-BA43-9264-CF80E8D587F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304622" y="6884631"/>
            <a:ext cx="3734720" cy="783110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4" name="Pladsholder til tekst 3">
            <a:extLst>
              <a:ext uri="{FF2B5EF4-FFF2-40B4-BE49-F238E27FC236}">
                <a16:creationId xmlns:a16="http://schemas.microsoft.com/office/drawing/2014/main" id="{510D0D61-2A94-C641-AF7F-1939034B0E4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04622" y="7882569"/>
            <a:ext cx="3734720" cy="1196991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EEF1836-630A-ED4C-AA72-492EBBF1F1D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237643" y="2605088"/>
            <a:ext cx="373472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6" name="Pladsholder til tekst 3">
            <a:extLst>
              <a:ext uri="{FF2B5EF4-FFF2-40B4-BE49-F238E27FC236}">
                <a16:creationId xmlns:a16="http://schemas.microsoft.com/office/drawing/2014/main" id="{60A7BF55-D661-1B49-A75A-2AFEC993E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37643" y="6884631"/>
            <a:ext cx="3734720" cy="783110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7" name="Pladsholder til tekst 3">
            <a:extLst>
              <a:ext uri="{FF2B5EF4-FFF2-40B4-BE49-F238E27FC236}">
                <a16:creationId xmlns:a16="http://schemas.microsoft.com/office/drawing/2014/main" id="{A7183FB7-2D78-0549-8399-95B2098D9D6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37643" y="7882569"/>
            <a:ext cx="3734720" cy="1196991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C3DE3EA4-C122-6240-AC72-734A6ED03D18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3170665" y="2605088"/>
            <a:ext cx="373472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9" name="Pladsholder til tekst 3">
            <a:extLst>
              <a:ext uri="{FF2B5EF4-FFF2-40B4-BE49-F238E27FC236}">
                <a16:creationId xmlns:a16="http://schemas.microsoft.com/office/drawing/2014/main" id="{4FA0CD1F-D261-4842-9F8D-2C88F5579B0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3170665" y="6884631"/>
            <a:ext cx="3734720" cy="783110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40" name="Pladsholder til tekst 3">
            <a:extLst>
              <a:ext uri="{FF2B5EF4-FFF2-40B4-BE49-F238E27FC236}">
                <a16:creationId xmlns:a16="http://schemas.microsoft.com/office/drawing/2014/main" id="{BB55047B-EB92-F94B-92A8-D91C9C2BCC1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70665" y="7882569"/>
            <a:ext cx="3734720" cy="1196991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16260231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0" y="4762"/>
            <a:ext cx="18278000" cy="10281374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4481244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7DC1A101-C4D9-A546-96D4-D7FAD68CA96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6072" y="1"/>
            <a:ext cx="18294072" cy="10306520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759335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E5C58D9B-5A43-B947-A80D-165D5224DA9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945"/>
            <a:ext cx="18288000" cy="10303098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450391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 mute="1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2594777"/>
              </p:ext>
            </p:extLst>
          </p:nvPr>
        </p:nvGraphicFramePr>
        <p:xfrm>
          <a:off x="3177" y="2384"/>
          <a:ext cx="3174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2384"/>
                        <a:ext cx="3174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vert="horz" anchor="ctr" anchorCtr="0"/>
          <a:lstStyle>
            <a:lvl1pPr algn="r">
              <a:defRPr sz="1350">
                <a:solidFill>
                  <a:srgbClr val="004454"/>
                </a:solidFill>
                <a:latin typeface="+mn-lt"/>
              </a:defRPr>
            </a:lvl1pPr>
          </a:lstStyle>
          <a:p>
            <a:fld id="{892EE196-DDA1-41FD-83E0-096904DE06E3}" type="slidenum">
              <a:rPr lang="da-DK" smtClean="0"/>
              <a:pPr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433192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056313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3" progId="TCLayout.ActiveDocument.1">
                  <p:embed/>
                </p:oleObj>
              </mc:Choice>
              <mc:Fallback>
                <p:oleObj name="think-cell Slide" r:id="rId4" imgW="532" imgH="533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38125" cy="238125"/>
          </a:xfrm>
          <a:prstGeom prst="rect">
            <a:avLst/>
          </a:prstGeom>
          <a:solidFill>
            <a:schemeClr val="accent5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a-DK" sz="4650" b="1" i="0" baseline="0">
              <a:latin typeface="Arial" panose="020B0604020202020204" pitchFamily="34" charset="0"/>
              <a:cs typeface="Open Sans Light" panose="020B060402020202020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650"/>
            </a:lvl1pPr>
          </a:lstStyle>
          <a:p>
            <a:r>
              <a:rPr lang="da-DK"/>
              <a:t>Klik for at redigere i master</a:t>
            </a:r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" name="Rectangle 11"/>
          <p:cNvSpPr/>
          <p:nvPr userDrawn="1"/>
        </p:nvSpPr>
        <p:spPr>
          <a:xfrm>
            <a:off x="0" y="2605089"/>
            <a:ext cx="18288000" cy="6481761"/>
          </a:xfrm>
          <a:prstGeom prst="rect">
            <a:avLst/>
          </a:prstGeom>
          <a:solidFill>
            <a:srgbClr val="E5E5E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3716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7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9015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OKU 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5"/>
          <p:cNvSpPr txBox="1">
            <a:spLocks noGrp="1"/>
          </p:cNvSpPr>
          <p:nvPr>
            <p:ph type="body" idx="4294967295"/>
          </p:nvPr>
        </p:nvSpPr>
        <p:spPr>
          <a:xfrm>
            <a:off x="1371600" y="1032869"/>
            <a:ext cx="15544794" cy="1289769"/>
          </a:xfrm>
        </p:spPr>
        <p:txBody>
          <a:bodyPr/>
          <a:lstStyle>
            <a:lvl1pPr marL="0" indent="0">
              <a:buNone/>
              <a:defRPr sz="4500" b="1"/>
            </a:lvl1pPr>
          </a:lstStyle>
          <a:p>
            <a:pPr lvl="0"/>
            <a:r>
              <a:rPr lang="da-DK"/>
              <a:t>Klik for at redigere i overskrift</a:t>
            </a:r>
          </a:p>
        </p:txBody>
      </p:sp>
      <p:sp>
        <p:nvSpPr>
          <p:cNvPr id="3" name="Title Placeholder 1"/>
          <p:cNvSpPr txBox="1">
            <a:spLocks noGrp="1"/>
          </p:cNvSpPr>
          <p:nvPr>
            <p:ph type="title"/>
          </p:nvPr>
        </p:nvSpPr>
        <p:spPr>
          <a:xfrm>
            <a:off x="1371600" y="684428"/>
            <a:ext cx="15544794" cy="317882"/>
          </a:xfrm>
        </p:spPr>
        <p:txBody>
          <a:bodyPr wrap="none" anchorCtr="0"/>
          <a:lstStyle>
            <a:lvl1pPr algn="l">
              <a:defRPr sz="1500" b="0"/>
            </a:lvl1pPr>
          </a:lstStyle>
          <a:p>
            <a:pPr lvl="0"/>
            <a:r>
              <a:rPr lang="da-DK"/>
              <a:t>Klik for at redigere i tracker</a:t>
            </a:r>
          </a:p>
        </p:txBody>
      </p:sp>
      <p:sp>
        <p:nvSpPr>
          <p:cNvPr id="4" name="Pladsholder til slidenummer 3"/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E530F1A-E148-45AD-9E51-893326BE722B}" type="slidenum">
              <a:t>‹#›</a:t>
            </a:fld>
            <a:endParaRPr lang="da-DK"/>
          </a:p>
        </p:txBody>
      </p:sp>
      <p:sp>
        <p:nvSpPr>
          <p:cNvPr id="5" name="Pladsholder til sidefod 2"/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Sidefod på alle sider</a:t>
            </a:r>
          </a:p>
        </p:txBody>
      </p:sp>
    </p:spTree>
    <p:extLst>
      <p:ext uri="{BB962C8B-B14F-4D97-AF65-F5344CB8AC3E}">
        <p14:creationId xmlns:p14="http://schemas.microsoft.com/office/powerpoint/2010/main" val="3177149614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371600" y="3195640"/>
            <a:ext cx="15544800" cy="2205038"/>
          </a:xfrm>
        </p:spPr>
        <p:txBody>
          <a:bodyPr/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2743200" y="5829300"/>
            <a:ext cx="12801600" cy="2628900"/>
          </a:xfrm>
        </p:spPr>
        <p:txBody>
          <a:bodyPr/>
          <a:lstStyle>
            <a:lvl1pPr marL="0" indent="0" algn="ctr">
              <a:buNone/>
              <a:defRPr/>
            </a:lvl1pPr>
            <a:lvl2pPr marL="685800" indent="0" algn="ctr">
              <a:buNone/>
              <a:defRPr/>
            </a:lvl2pPr>
            <a:lvl3pPr marL="1371600" indent="0" algn="ctr">
              <a:buNone/>
              <a:defRPr/>
            </a:lvl3pPr>
            <a:lvl4pPr marL="2057400" indent="0" algn="ctr">
              <a:buNone/>
              <a:defRPr/>
            </a:lvl4pPr>
            <a:lvl5pPr marL="2743200" indent="0" algn="ctr">
              <a:buNone/>
              <a:defRPr/>
            </a:lvl5pPr>
            <a:lvl6pPr marL="3429000" indent="0" algn="ctr">
              <a:buNone/>
              <a:defRPr/>
            </a:lvl6pPr>
            <a:lvl7pPr marL="4114800" indent="0" algn="ctr">
              <a:buNone/>
              <a:defRPr/>
            </a:lvl7pPr>
            <a:lvl8pPr marL="4800600" indent="0" algn="ctr">
              <a:buNone/>
              <a:defRPr/>
            </a:lvl8pPr>
            <a:lvl9pPr marL="5486400" indent="0" algn="ctr">
              <a:buNone/>
              <a:defRPr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xfrm>
            <a:off x="1371600" y="9372600"/>
            <a:ext cx="3810000" cy="685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1"/>
          </p:nvPr>
        </p:nvSpPr>
        <p:spPr>
          <a:xfrm>
            <a:off x="6248400" y="9372600"/>
            <a:ext cx="5791200" cy="685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4020800" y="9426252"/>
            <a:ext cx="3810000" cy="685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88B9F-7A58-40FC-94C6-DE17AC819CA0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014948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415576" y="1685582"/>
            <a:ext cx="6858000" cy="708935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91459" y="5883007"/>
            <a:ext cx="7118489" cy="2561423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91459" y="2495317"/>
            <a:ext cx="7535540" cy="283281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282171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939900" y="1685582"/>
            <a:ext cx="6858000" cy="708935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05512" y="5883007"/>
            <a:ext cx="7118489" cy="2561423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5512" y="2495317"/>
            <a:ext cx="7535540" cy="283281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1262176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371602" y="2747037"/>
            <a:ext cx="4195482" cy="601276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59292" y="2747038"/>
            <a:ext cx="4195482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46981" y="2747038"/>
            <a:ext cx="6969419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946981" y="5985857"/>
            <a:ext cx="6969419" cy="277394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669606" y="5989012"/>
            <a:ext cx="4195482" cy="277394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7757" y="6386864"/>
            <a:ext cx="3293894" cy="2071337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9048D62-3969-AF4F-9DFE-7CB99DD91E6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EF939005-16F7-D242-90DC-BF9D655DFE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5769845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414018" y="2747038"/>
            <a:ext cx="4195482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1" y="2747038"/>
            <a:ext cx="6969419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5417243" y="5985857"/>
            <a:ext cx="7192257" cy="277394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2682498" y="2747038"/>
            <a:ext cx="4233900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1371600" y="5985857"/>
            <a:ext cx="3953436" cy="277394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12682498" y="5985857"/>
            <a:ext cx="4233900" cy="277394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E825661-551C-CB4A-BD64-F9F48E798F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2161DFB-9516-824E-931C-E348F1F9CB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8709861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414018" y="2747038"/>
            <a:ext cx="4195482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1" y="2747037"/>
            <a:ext cx="6969419" cy="601276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2682498" y="2747038"/>
            <a:ext cx="4233900" cy="316582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14018" y="5985857"/>
            <a:ext cx="8502381" cy="277394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09ED05-355F-704F-8078-D8FBCB80CC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ADA6362-6032-7B48-806D-EE79E20F90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719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01200" y="3305165"/>
            <a:ext cx="7315200" cy="796133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200" y="701041"/>
            <a:ext cx="7315200" cy="23772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01200" y="4433888"/>
            <a:ext cx="7315200" cy="480155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80674"/>
            <a:ext cx="8175702" cy="1000632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7384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0134600" y="275379"/>
            <a:ext cx="8153400" cy="100116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40" y="3305165"/>
            <a:ext cx="7315200" cy="796133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6840" y="701041"/>
            <a:ext cx="7315200" cy="23772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6840" y="4433888"/>
            <a:ext cx="7315200" cy="480155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29941368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6) Indhold - top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275380"/>
            <a:ext cx="18288000" cy="54761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74109B2-14F7-8C45-B436-1D932F43BA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20DAE04-02FA-FA4E-80B1-DEACAA8CA1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660E2045-251E-0C48-95E3-D254032436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6629400"/>
            <a:ext cx="13615200" cy="27584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058751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451641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7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371601" y="983975"/>
            <a:ext cx="15549563" cy="8102876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37164436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8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371601" y="983975"/>
            <a:ext cx="15549563" cy="8102876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0117569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9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7147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0) Indhold - Best prac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P-Animation" descr="BP-Animation">
            <a:hlinkClick r:id="" action="ppaction://media"/>
            <a:extLst>
              <a:ext uri="{FF2B5EF4-FFF2-40B4-BE49-F238E27FC236}">
                <a16:creationId xmlns:a16="http://schemas.microsoft.com/office/drawing/2014/main" id="{576F7D11-4E26-1B4C-A111-575C6B10466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t="30238"/>
          <a:stretch/>
        </p:blipFill>
        <p:spPr>
          <a:xfrm>
            <a:off x="5046383" y="276161"/>
            <a:ext cx="9479694" cy="4809633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2976761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269700" y="3374465"/>
            <a:ext cx="13646700" cy="91210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605088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grpSp>
        <p:nvGrpSpPr>
          <p:cNvPr id="22" name="Gruppe 21">
            <a:extLst>
              <a:ext uri="{FF2B5EF4-FFF2-40B4-BE49-F238E27FC236}">
                <a16:creationId xmlns:a16="http://schemas.microsoft.com/office/drawing/2014/main" id="{E2741BB0-BC6E-D043-8C59-CE47B8FEEF7A}"/>
              </a:ext>
            </a:extLst>
          </p:cNvPr>
          <p:cNvGrpSpPr/>
          <p:nvPr userDrawn="1"/>
        </p:nvGrpSpPr>
        <p:grpSpPr>
          <a:xfrm>
            <a:off x="1963012" y="3234973"/>
            <a:ext cx="859085" cy="1368195"/>
            <a:chOff x="1423875" y="4071849"/>
            <a:chExt cx="572723" cy="912130"/>
          </a:xfrm>
        </p:grpSpPr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A1BAD3C0-82BE-B54D-9145-1EB45E6DD52F}"/>
                </a:ext>
              </a:extLst>
            </p:cNvPr>
            <p:cNvSpPr txBox="1"/>
            <p:nvPr/>
          </p:nvSpPr>
          <p:spPr>
            <a:xfrm>
              <a:off x="1507224" y="4071849"/>
              <a:ext cx="482183" cy="9121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8291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1</a:t>
              </a:r>
            </a:p>
          </p:txBody>
        </p:sp>
        <p:sp>
          <p:nvSpPr>
            <p:cNvPr id="16" name="Kombinationstegning 15">
              <a:extLst>
                <a:ext uri="{FF2B5EF4-FFF2-40B4-BE49-F238E27FC236}">
                  <a16:creationId xmlns:a16="http://schemas.microsoft.com/office/drawing/2014/main" id="{38AA8925-755B-CC44-9D77-ABBFFB5873C3}"/>
                </a:ext>
              </a:extLst>
            </p:cNvPr>
            <p:cNvSpPr/>
            <p:nvPr/>
          </p:nvSpPr>
          <p:spPr>
            <a:xfrm>
              <a:off x="1423875" y="4157643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4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6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4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2 h 608067"/>
                <a:gd name="connsiteX39" fmla="*/ 372505 w 572723"/>
                <a:gd name="connsiteY39" fmla="*/ 76622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2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8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5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2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8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2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5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1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2"/>
                    <a:pt x="384540" y="76622"/>
                  </a:cubicBezTo>
                  <a:cubicBezTo>
                    <a:pt x="380528" y="76622"/>
                    <a:pt x="376517" y="76622"/>
                    <a:pt x="372505" y="76622"/>
                  </a:cubicBezTo>
                  <a:cubicBezTo>
                    <a:pt x="368493" y="76622"/>
                    <a:pt x="363479" y="76622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6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7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2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2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7980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088A53C9-7CE7-AD48-8870-F4DF2FF74E86}"/>
              </a:ext>
            </a:extLst>
          </p:cNvPr>
          <p:cNvGrpSpPr/>
          <p:nvPr userDrawn="1"/>
        </p:nvGrpSpPr>
        <p:grpSpPr>
          <a:xfrm>
            <a:off x="1963013" y="8235030"/>
            <a:ext cx="859085" cy="1313436"/>
            <a:chOff x="4467788" y="4090750"/>
            <a:chExt cx="572723" cy="875624"/>
          </a:xfrm>
        </p:grpSpPr>
        <p:sp>
          <p:nvSpPr>
            <p:cNvPr id="17" name="Tekstfelt 16">
              <a:extLst>
                <a:ext uri="{FF2B5EF4-FFF2-40B4-BE49-F238E27FC236}">
                  <a16:creationId xmlns:a16="http://schemas.microsoft.com/office/drawing/2014/main" id="{4566AFE7-5DED-5B48-97A5-4133C1C75FB4}"/>
                </a:ext>
              </a:extLst>
            </p:cNvPr>
            <p:cNvSpPr txBox="1"/>
            <p:nvPr/>
          </p:nvSpPr>
          <p:spPr>
            <a:xfrm>
              <a:off x="4521008" y="4090750"/>
              <a:ext cx="467222" cy="875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7935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5</a:t>
              </a:r>
            </a:p>
          </p:txBody>
        </p:sp>
        <p:sp>
          <p:nvSpPr>
            <p:cNvPr id="18" name="Kombinationstegning 17">
              <a:extLst>
                <a:ext uri="{FF2B5EF4-FFF2-40B4-BE49-F238E27FC236}">
                  <a16:creationId xmlns:a16="http://schemas.microsoft.com/office/drawing/2014/main" id="{389A7E92-22F2-8647-871D-CC13CB86CC94}"/>
                </a:ext>
              </a:extLst>
            </p:cNvPr>
            <p:cNvSpPr/>
            <p:nvPr/>
          </p:nvSpPr>
          <p:spPr>
            <a:xfrm>
              <a:off x="4467788" y="4173686"/>
              <a:ext cx="572723" cy="606061"/>
            </a:xfrm>
            <a:custGeom>
              <a:avLst/>
              <a:gdLst>
                <a:gd name="connsiteX0" fmla="*/ 17465 w 572723"/>
                <a:gd name="connsiteY0" fmla="*/ 204971 h 606061"/>
                <a:gd name="connsiteX1" fmla="*/ 15460 w 572723"/>
                <a:gd name="connsiteY1" fmla="*/ 211990 h 606061"/>
                <a:gd name="connsiteX2" fmla="*/ 40533 w 572723"/>
                <a:gd name="connsiteY2" fmla="*/ 140797 h 606061"/>
                <a:gd name="connsiteX3" fmla="*/ 6433 w 572723"/>
                <a:gd name="connsiteY3" fmla="*/ 221015 h 606061"/>
                <a:gd name="connsiteX4" fmla="*/ 8439 w 572723"/>
                <a:gd name="connsiteY4" fmla="*/ 298225 h 606061"/>
                <a:gd name="connsiteX5" fmla="*/ 415 w 572723"/>
                <a:gd name="connsiteY5" fmla="*/ 329309 h 606061"/>
                <a:gd name="connsiteX6" fmla="*/ 1418 w 572723"/>
                <a:gd name="connsiteY6" fmla="*/ 357386 h 606061"/>
                <a:gd name="connsiteX7" fmla="*/ 10445 w 572723"/>
                <a:gd name="connsiteY7" fmla="*/ 390476 h 606061"/>
                <a:gd name="connsiteX8" fmla="*/ 4427 w 572723"/>
                <a:gd name="connsiteY8" fmla="*/ 367413 h 606061"/>
                <a:gd name="connsiteX9" fmla="*/ 10445 w 572723"/>
                <a:gd name="connsiteY9" fmla="*/ 390476 h 606061"/>
                <a:gd name="connsiteX10" fmla="*/ 29501 w 572723"/>
                <a:gd name="connsiteY10" fmla="*/ 443620 h 606061"/>
                <a:gd name="connsiteX11" fmla="*/ 60592 w 572723"/>
                <a:gd name="connsiteY11" fmla="*/ 494759 h 606061"/>
                <a:gd name="connsiteX12" fmla="*/ 156874 w 572723"/>
                <a:gd name="connsiteY12" fmla="*/ 567958 h 606061"/>
                <a:gd name="connsiteX13" fmla="*/ 257167 w 572723"/>
                <a:gd name="connsiteY13" fmla="*/ 599043 h 606061"/>
                <a:gd name="connsiteX14" fmla="*/ 317344 w 572723"/>
                <a:gd name="connsiteY14" fmla="*/ 606062 h 606061"/>
                <a:gd name="connsiteX15" fmla="*/ 364481 w 572723"/>
                <a:gd name="connsiteY15" fmla="*/ 605059 h 606061"/>
                <a:gd name="connsiteX16" fmla="*/ 385543 w 572723"/>
                <a:gd name="connsiteY16" fmla="*/ 602051 h 606061"/>
                <a:gd name="connsiteX17" fmla="*/ 362476 w 572723"/>
                <a:gd name="connsiteY17" fmla="*/ 604056 h 606061"/>
                <a:gd name="connsiteX18" fmla="*/ 438699 w 572723"/>
                <a:gd name="connsiteY18" fmla="*/ 576983 h 606061"/>
                <a:gd name="connsiteX19" fmla="*/ 422652 w 572723"/>
                <a:gd name="connsiteY19" fmla="*/ 578988 h 606061"/>
                <a:gd name="connsiteX20" fmla="*/ 434687 w 572723"/>
                <a:gd name="connsiteY20" fmla="*/ 574977 h 606061"/>
                <a:gd name="connsiteX21" fmla="*/ 476810 w 572723"/>
                <a:gd name="connsiteY21" fmla="*/ 544896 h 606061"/>
                <a:gd name="connsiteX22" fmla="*/ 490852 w 572723"/>
                <a:gd name="connsiteY22" fmla="*/ 535871 h 606061"/>
                <a:gd name="connsiteX23" fmla="*/ 487843 w 572723"/>
                <a:gd name="connsiteY23" fmla="*/ 536874 h 606061"/>
                <a:gd name="connsiteX24" fmla="*/ 521943 w 572723"/>
                <a:gd name="connsiteY24" fmla="*/ 496765 h 606061"/>
                <a:gd name="connsiteX25" fmla="*/ 543004 w 572723"/>
                <a:gd name="connsiteY25" fmla="*/ 452645 h 606061"/>
                <a:gd name="connsiteX26" fmla="*/ 547016 w 572723"/>
                <a:gd name="connsiteY26" fmla="*/ 444623 h 606061"/>
                <a:gd name="connsiteX27" fmla="*/ 553034 w 572723"/>
                <a:gd name="connsiteY27" fmla="*/ 417549 h 606061"/>
                <a:gd name="connsiteX28" fmla="*/ 559051 w 572723"/>
                <a:gd name="connsiteY28" fmla="*/ 409528 h 606061"/>
                <a:gd name="connsiteX29" fmla="*/ 566072 w 572723"/>
                <a:gd name="connsiteY29" fmla="*/ 350367 h 606061"/>
                <a:gd name="connsiteX30" fmla="*/ 571086 w 572723"/>
                <a:gd name="connsiteY30" fmla="*/ 244078 h 606061"/>
                <a:gd name="connsiteX31" fmla="*/ 528963 w 572723"/>
                <a:gd name="connsiteY31" fmla="*/ 142802 h 606061"/>
                <a:gd name="connsiteX32" fmla="*/ 528963 w 572723"/>
                <a:gd name="connsiteY32" fmla="*/ 144808 h 606061"/>
                <a:gd name="connsiteX33" fmla="*/ 469790 w 572723"/>
                <a:gd name="connsiteY33" fmla="*/ 94672 h 606061"/>
                <a:gd name="connsiteX34" fmla="*/ 437696 w 572723"/>
                <a:gd name="connsiteY34" fmla="*/ 81636 h 606061"/>
                <a:gd name="connsiteX35" fmla="*/ 422652 w 572723"/>
                <a:gd name="connsiteY35" fmla="*/ 78628 h 606061"/>
                <a:gd name="connsiteX36" fmla="*/ 412623 w 572723"/>
                <a:gd name="connsiteY36" fmla="*/ 78628 h 606061"/>
                <a:gd name="connsiteX37" fmla="*/ 397579 w 572723"/>
                <a:gd name="connsiteY37" fmla="*/ 75620 h 606061"/>
                <a:gd name="connsiteX38" fmla="*/ 384540 w 572723"/>
                <a:gd name="connsiteY38" fmla="*/ 74617 h 606061"/>
                <a:gd name="connsiteX39" fmla="*/ 372505 w 572723"/>
                <a:gd name="connsiteY39" fmla="*/ 74617 h 606061"/>
                <a:gd name="connsiteX40" fmla="*/ 357461 w 572723"/>
                <a:gd name="connsiteY40" fmla="*/ 75620 h 606061"/>
                <a:gd name="connsiteX41" fmla="*/ 350440 w 572723"/>
                <a:gd name="connsiteY41" fmla="*/ 78628 h 606061"/>
                <a:gd name="connsiteX42" fmla="*/ 347432 w 572723"/>
                <a:gd name="connsiteY42" fmla="*/ 80633 h 606061"/>
                <a:gd name="connsiteX43" fmla="*/ 374511 w 572723"/>
                <a:gd name="connsiteY43" fmla="*/ 83642 h 606061"/>
                <a:gd name="connsiteX44" fmla="*/ 374511 w 572723"/>
                <a:gd name="connsiteY44" fmla="*/ 82639 h 606061"/>
                <a:gd name="connsiteX45" fmla="*/ 451737 w 572723"/>
                <a:gd name="connsiteY45" fmla="*/ 113723 h 606061"/>
                <a:gd name="connsiteX46" fmla="*/ 507902 w 572723"/>
                <a:gd name="connsiteY46" fmla="*/ 173887 h 606061"/>
                <a:gd name="connsiteX47" fmla="*/ 528963 w 572723"/>
                <a:gd name="connsiteY47" fmla="*/ 226029 h 606061"/>
                <a:gd name="connsiteX48" fmla="*/ 531972 w 572723"/>
                <a:gd name="connsiteY48" fmla="*/ 286192 h 606061"/>
                <a:gd name="connsiteX49" fmla="*/ 524951 w 572723"/>
                <a:gd name="connsiteY49" fmla="*/ 355380 h 606061"/>
                <a:gd name="connsiteX50" fmla="*/ 513919 w 572723"/>
                <a:gd name="connsiteY50" fmla="*/ 418552 h 606061"/>
                <a:gd name="connsiteX51" fmla="*/ 503890 w 572723"/>
                <a:gd name="connsiteY51" fmla="*/ 439609 h 606061"/>
                <a:gd name="connsiteX52" fmla="*/ 477813 w 572723"/>
                <a:gd name="connsiteY52" fmla="*/ 487740 h 606061"/>
                <a:gd name="connsiteX53" fmla="*/ 434687 w 572723"/>
                <a:gd name="connsiteY53" fmla="*/ 525844 h 606061"/>
                <a:gd name="connsiteX54" fmla="*/ 436693 w 572723"/>
                <a:gd name="connsiteY54" fmla="*/ 524841 h 606061"/>
                <a:gd name="connsiteX55" fmla="*/ 385543 w 572723"/>
                <a:gd name="connsiteY55" fmla="*/ 543893 h 606061"/>
                <a:gd name="connsiteX56" fmla="*/ 381531 w 572723"/>
                <a:gd name="connsiteY56" fmla="*/ 545898 h 606061"/>
                <a:gd name="connsiteX57" fmla="*/ 361473 w 572723"/>
                <a:gd name="connsiteY57" fmla="*/ 548906 h 606061"/>
                <a:gd name="connsiteX58" fmla="*/ 320352 w 572723"/>
                <a:gd name="connsiteY58" fmla="*/ 554923 h 606061"/>
                <a:gd name="connsiteX59" fmla="*/ 254158 w 572723"/>
                <a:gd name="connsiteY59" fmla="*/ 551915 h 606061"/>
                <a:gd name="connsiteX60" fmla="*/ 247138 w 572723"/>
                <a:gd name="connsiteY60" fmla="*/ 550912 h 606061"/>
                <a:gd name="connsiteX61" fmla="*/ 184956 w 572723"/>
                <a:gd name="connsiteY61" fmla="*/ 527849 h 606061"/>
                <a:gd name="connsiteX62" fmla="*/ 133806 w 572723"/>
                <a:gd name="connsiteY62" fmla="*/ 498770 h 606061"/>
                <a:gd name="connsiteX63" fmla="*/ 112744 w 572723"/>
                <a:gd name="connsiteY63" fmla="*/ 488743 h 606061"/>
                <a:gd name="connsiteX64" fmla="*/ 100709 w 572723"/>
                <a:gd name="connsiteY64" fmla="*/ 478716 h 606061"/>
                <a:gd name="connsiteX65" fmla="*/ 87671 w 572723"/>
                <a:gd name="connsiteY65" fmla="*/ 462672 h 606061"/>
                <a:gd name="connsiteX66" fmla="*/ 64603 w 572723"/>
                <a:gd name="connsiteY66" fmla="*/ 423566 h 606061"/>
                <a:gd name="connsiteX67" fmla="*/ 56580 w 572723"/>
                <a:gd name="connsiteY67" fmla="*/ 405517 h 606061"/>
                <a:gd name="connsiteX68" fmla="*/ 55577 w 572723"/>
                <a:gd name="connsiteY68" fmla="*/ 393484 h 606061"/>
                <a:gd name="connsiteX69" fmla="*/ 51565 w 572723"/>
                <a:gd name="connsiteY69" fmla="*/ 367413 h 606061"/>
                <a:gd name="connsiteX70" fmla="*/ 47553 w 572723"/>
                <a:gd name="connsiteY70" fmla="*/ 345353 h 606061"/>
                <a:gd name="connsiteX71" fmla="*/ 43542 w 572723"/>
                <a:gd name="connsiteY71" fmla="*/ 323293 h 606061"/>
                <a:gd name="connsiteX72" fmla="*/ 43542 w 572723"/>
                <a:gd name="connsiteY72" fmla="*/ 326301 h 606061"/>
                <a:gd name="connsiteX73" fmla="*/ 48556 w 572723"/>
                <a:gd name="connsiteY73" fmla="*/ 278170 h 606061"/>
                <a:gd name="connsiteX74" fmla="*/ 61595 w 572723"/>
                <a:gd name="connsiteY74" fmla="*/ 203969 h 606061"/>
                <a:gd name="connsiteX75" fmla="*/ 89677 w 572723"/>
                <a:gd name="connsiteY75" fmla="*/ 137789 h 606061"/>
                <a:gd name="connsiteX76" fmla="*/ 82656 w 572723"/>
                <a:gd name="connsiteY76" fmla="*/ 145811 h 606061"/>
                <a:gd name="connsiteX77" fmla="*/ 132803 w 572723"/>
                <a:gd name="connsiteY77" fmla="*/ 85647 h 606061"/>
                <a:gd name="connsiteX78" fmla="*/ 143835 w 572723"/>
                <a:gd name="connsiteY78" fmla="*/ 79631 h 606061"/>
                <a:gd name="connsiteX79" fmla="*/ 151859 w 572723"/>
                <a:gd name="connsiteY79" fmla="*/ 72612 h 606061"/>
                <a:gd name="connsiteX80" fmla="*/ 153865 w 572723"/>
                <a:gd name="connsiteY80" fmla="*/ 73614 h 606061"/>
                <a:gd name="connsiteX81" fmla="*/ 171918 w 572723"/>
                <a:gd name="connsiteY81" fmla="*/ 62584 h 606061"/>
                <a:gd name="connsiteX82" fmla="*/ 176932 w 572723"/>
                <a:gd name="connsiteY82" fmla="*/ 58573 h 606061"/>
                <a:gd name="connsiteX83" fmla="*/ 184956 w 572723"/>
                <a:gd name="connsiteY83" fmla="*/ 56568 h 606061"/>
                <a:gd name="connsiteX84" fmla="*/ 184956 w 572723"/>
                <a:gd name="connsiteY84" fmla="*/ 56568 h 606061"/>
                <a:gd name="connsiteX85" fmla="*/ 189970 w 572723"/>
                <a:gd name="connsiteY85" fmla="*/ 54563 h 606061"/>
                <a:gd name="connsiteX86" fmla="*/ 206018 w 572723"/>
                <a:gd name="connsiteY86" fmla="*/ 43533 h 606061"/>
                <a:gd name="connsiteX87" fmla="*/ 223067 w 572723"/>
                <a:gd name="connsiteY87" fmla="*/ 33505 h 606061"/>
                <a:gd name="connsiteX88" fmla="*/ 225073 w 572723"/>
                <a:gd name="connsiteY88" fmla="*/ 33505 h 606061"/>
                <a:gd name="connsiteX89" fmla="*/ 228082 w 572723"/>
                <a:gd name="connsiteY89" fmla="*/ 30497 h 606061"/>
                <a:gd name="connsiteX90" fmla="*/ 234100 w 572723"/>
                <a:gd name="connsiteY90" fmla="*/ 29494 h 606061"/>
                <a:gd name="connsiteX91" fmla="*/ 233097 w 572723"/>
                <a:gd name="connsiteY91" fmla="*/ 29494 h 606061"/>
                <a:gd name="connsiteX92" fmla="*/ 239114 w 572723"/>
                <a:gd name="connsiteY92" fmla="*/ 28492 h 606061"/>
                <a:gd name="connsiteX93" fmla="*/ 240117 w 572723"/>
                <a:gd name="connsiteY93" fmla="*/ 30497 h 606061"/>
                <a:gd name="connsiteX94" fmla="*/ 250147 w 572723"/>
                <a:gd name="connsiteY94" fmla="*/ 28492 h 606061"/>
                <a:gd name="connsiteX95" fmla="*/ 219056 w 572723"/>
                <a:gd name="connsiteY95" fmla="*/ 29494 h 606061"/>
                <a:gd name="connsiteX96" fmla="*/ 234100 w 572723"/>
                <a:gd name="connsiteY96" fmla="*/ 25483 h 606061"/>
                <a:gd name="connsiteX97" fmla="*/ 245132 w 572723"/>
                <a:gd name="connsiteY97" fmla="*/ 25483 h 606061"/>
                <a:gd name="connsiteX98" fmla="*/ 258170 w 572723"/>
                <a:gd name="connsiteY98" fmla="*/ 25483 h 606061"/>
                <a:gd name="connsiteX99" fmla="*/ 265191 w 572723"/>
                <a:gd name="connsiteY99" fmla="*/ 23478 h 606061"/>
                <a:gd name="connsiteX100" fmla="*/ 273214 w 572723"/>
                <a:gd name="connsiteY100" fmla="*/ 24481 h 606061"/>
                <a:gd name="connsiteX101" fmla="*/ 261179 w 572723"/>
                <a:gd name="connsiteY101" fmla="*/ 25483 h 606061"/>
                <a:gd name="connsiteX102" fmla="*/ 266194 w 572723"/>
                <a:gd name="connsiteY102" fmla="*/ 26486 h 606061"/>
                <a:gd name="connsiteX103" fmla="*/ 273214 w 572723"/>
                <a:gd name="connsiteY103" fmla="*/ 26486 h 606061"/>
                <a:gd name="connsiteX104" fmla="*/ 287255 w 572723"/>
                <a:gd name="connsiteY104" fmla="*/ 26486 h 606061"/>
                <a:gd name="connsiteX105" fmla="*/ 293273 w 572723"/>
                <a:gd name="connsiteY105" fmla="*/ 29494 h 606061"/>
                <a:gd name="connsiteX106" fmla="*/ 297285 w 572723"/>
                <a:gd name="connsiteY106" fmla="*/ 28492 h 606061"/>
                <a:gd name="connsiteX107" fmla="*/ 289261 w 572723"/>
                <a:gd name="connsiteY107" fmla="*/ 23478 h 606061"/>
                <a:gd name="connsiteX108" fmla="*/ 300294 w 572723"/>
                <a:gd name="connsiteY108" fmla="*/ 25483 h 606061"/>
                <a:gd name="connsiteX109" fmla="*/ 300294 w 572723"/>
                <a:gd name="connsiteY109" fmla="*/ 23478 h 606061"/>
                <a:gd name="connsiteX110" fmla="*/ 310323 w 572723"/>
                <a:gd name="connsiteY110" fmla="*/ 25483 h 606061"/>
                <a:gd name="connsiteX111" fmla="*/ 307314 w 572723"/>
                <a:gd name="connsiteY111" fmla="*/ 24481 h 606061"/>
                <a:gd name="connsiteX112" fmla="*/ 296282 w 572723"/>
                <a:gd name="connsiteY112" fmla="*/ 26486 h 606061"/>
                <a:gd name="connsiteX113" fmla="*/ 286252 w 572723"/>
                <a:gd name="connsiteY113" fmla="*/ 28492 h 606061"/>
                <a:gd name="connsiteX114" fmla="*/ 299291 w 572723"/>
                <a:gd name="connsiteY114" fmla="*/ 25483 h 606061"/>
                <a:gd name="connsiteX115" fmla="*/ 311326 w 572723"/>
                <a:gd name="connsiteY115" fmla="*/ 24481 h 606061"/>
                <a:gd name="connsiteX116" fmla="*/ 311326 w 572723"/>
                <a:gd name="connsiteY116" fmla="*/ 21473 h 606061"/>
                <a:gd name="connsiteX117" fmla="*/ 307314 w 572723"/>
                <a:gd name="connsiteY117" fmla="*/ 22475 h 606061"/>
                <a:gd name="connsiteX118" fmla="*/ 303302 w 572723"/>
                <a:gd name="connsiteY118" fmla="*/ 18464 h 606061"/>
                <a:gd name="connsiteX119" fmla="*/ 296282 w 572723"/>
                <a:gd name="connsiteY119" fmla="*/ 21473 h 606061"/>
                <a:gd name="connsiteX120" fmla="*/ 288258 w 572723"/>
                <a:gd name="connsiteY120" fmla="*/ 23478 h 606061"/>
                <a:gd name="connsiteX121" fmla="*/ 290264 w 572723"/>
                <a:gd name="connsiteY121" fmla="*/ 24481 h 606061"/>
                <a:gd name="connsiteX122" fmla="*/ 302300 w 572723"/>
                <a:gd name="connsiteY122" fmla="*/ 25483 h 606061"/>
                <a:gd name="connsiteX123" fmla="*/ 309320 w 572723"/>
                <a:gd name="connsiteY123" fmla="*/ 24481 h 606061"/>
                <a:gd name="connsiteX124" fmla="*/ 310323 w 572723"/>
                <a:gd name="connsiteY124" fmla="*/ 24481 h 606061"/>
                <a:gd name="connsiteX125" fmla="*/ 316341 w 572723"/>
                <a:gd name="connsiteY125" fmla="*/ 23478 h 606061"/>
                <a:gd name="connsiteX126" fmla="*/ 314335 w 572723"/>
                <a:gd name="connsiteY126" fmla="*/ 16459 h 606061"/>
                <a:gd name="connsiteX127" fmla="*/ 313332 w 572723"/>
                <a:gd name="connsiteY127" fmla="*/ 9440 h 606061"/>
                <a:gd name="connsiteX128" fmla="*/ 302300 w 572723"/>
                <a:gd name="connsiteY128" fmla="*/ 10443 h 606061"/>
                <a:gd name="connsiteX129" fmla="*/ 292270 w 572723"/>
                <a:gd name="connsiteY129" fmla="*/ 6432 h 606061"/>
                <a:gd name="connsiteX130" fmla="*/ 288258 w 572723"/>
                <a:gd name="connsiteY130" fmla="*/ 7434 h 606061"/>
                <a:gd name="connsiteX131" fmla="*/ 281238 w 572723"/>
                <a:gd name="connsiteY131" fmla="*/ 4426 h 606061"/>
                <a:gd name="connsiteX132" fmla="*/ 270205 w 572723"/>
                <a:gd name="connsiteY132" fmla="*/ 4426 h 606061"/>
                <a:gd name="connsiteX133" fmla="*/ 267197 w 572723"/>
                <a:gd name="connsiteY133" fmla="*/ 6432 h 606061"/>
                <a:gd name="connsiteX134" fmla="*/ 247138 w 572723"/>
                <a:gd name="connsiteY134" fmla="*/ 7434 h 606061"/>
                <a:gd name="connsiteX135" fmla="*/ 243126 w 572723"/>
                <a:gd name="connsiteY135" fmla="*/ 2421 h 606061"/>
                <a:gd name="connsiteX136" fmla="*/ 250147 w 572723"/>
                <a:gd name="connsiteY136" fmla="*/ 4426 h 606061"/>
                <a:gd name="connsiteX137" fmla="*/ 260176 w 572723"/>
                <a:gd name="connsiteY137" fmla="*/ 415 h 606061"/>
                <a:gd name="connsiteX138" fmla="*/ 245132 w 572723"/>
                <a:gd name="connsiteY138" fmla="*/ 1418 h 606061"/>
                <a:gd name="connsiteX139" fmla="*/ 246135 w 572723"/>
                <a:gd name="connsiteY139" fmla="*/ 1418 h 606061"/>
                <a:gd name="connsiteX140" fmla="*/ 226076 w 572723"/>
                <a:gd name="connsiteY140" fmla="*/ 4426 h 606061"/>
                <a:gd name="connsiteX141" fmla="*/ 228082 w 572723"/>
                <a:gd name="connsiteY141" fmla="*/ 1418 h 606061"/>
                <a:gd name="connsiteX142" fmla="*/ 220059 w 572723"/>
                <a:gd name="connsiteY142" fmla="*/ 4426 h 606061"/>
                <a:gd name="connsiteX143" fmla="*/ 220059 w 572723"/>
                <a:gd name="connsiteY143" fmla="*/ 5429 h 606061"/>
                <a:gd name="connsiteX144" fmla="*/ 211032 w 572723"/>
                <a:gd name="connsiteY144" fmla="*/ 7434 h 606061"/>
                <a:gd name="connsiteX145" fmla="*/ 194985 w 572723"/>
                <a:gd name="connsiteY145" fmla="*/ 15456 h 606061"/>
                <a:gd name="connsiteX146" fmla="*/ 180944 w 572723"/>
                <a:gd name="connsiteY146" fmla="*/ 24481 h 606061"/>
                <a:gd name="connsiteX147" fmla="*/ 170915 w 572723"/>
                <a:gd name="connsiteY147" fmla="*/ 28492 h 606061"/>
                <a:gd name="connsiteX148" fmla="*/ 176932 w 572723"/>
                <a:gd name="connsiteY148" fmla="*/ 25483 h 606061"/>
                <a:gd name="connsiteX149" fmla="*/ 189970 w 572723"/>
                <a:gd name="connsiteY149" fmla="*/ 17462 h 606061"/>
                <a:gd name="connsiteX150" fmla="*/ 203009 w 572723"/>
                <a:gd name="connsiteY150" fmla="*/ 10443 h 606061"/>
                <a:gd name="connsiteX151" fmla="*/ 206018 w 572723"/>
                <a:gd name="connsiteY151" fmla="*/ 8437 h 606061"/>
                <a:gd name="connsiteX152" fmla="*/ 195988 w 572723"/>
                <a:gd name="connsiteY152" fmla="*/ 12448 h 606061"/>
                <a:gd name="connsiteX153" fmla="*/ 178938 w 572723"/>
                <a:gd name="connsiteY153" fmla="*/ 21473 h 606061"/>
                <a:gd name="connsiteX154" fmla="*/ 162891 w 572723"/>
                <a:gd name="connsiteY154" fmla="*/ 31500 h 606061"/>
                <a:gd name="connsiteX155" fmla="*/ 154868 w 572723"/>
                <a:gd name="connsiteY155" fmla="*/ 36513 h 606061"/>
                <a:gd name="connsiteX156" fmla="*/ 149853 w 572723"/>
                <a:gd name="connsiteY156" fmla="*/ 41527 h 606061"/>
                <a:gd name="connsiteX157" fmla="*/ 145841 w 572723"/>
                <a:gd name="connsiteY157" fmla="*/ 40524 h 606061"/>
                <a:gd name="connsiteX158" fmla="*/ 144838 w 572723"/>
                <a:gd name="connsiteY158" fmla="*/ 41527 h 606061"/>
                <a:gd name="connsiteX159" fmla="*/ 140827 w 572723"/>
                <a:gd name="connsiteY159" fmla="*/ 42530 h 606061"/>
                <a:gd name="connsiteX160" fmla="*/ 127788 w 572723"/>
                <a:gd name="connsiteY160" fmla="*/ 52557 h 606061"/>
                <a:gd name="connsiteX161" fmla="*/ 115753 w 572723"/>
                <a:gd name="connsiteY161" fmla="*/ 64590 h 606061"/>
                <a:gd name="connsiteX162" fmla="*/ 121771 w 572723"/>
                <a:gd name="connsiteY162" fmla="*/ 52557 h 606061"/>
                <a:gd name="connsiteX163" fmla="*/ 122774 w 572723"/>
                <a:gd name="connsiteY163" fmla="*/ 52557 h 606061"/>
                <a:gd name="connsiteX164" fmla="*/ 125783 w 572723"/>
                <a:gd name="connsiteY164" fmla="*/ 47543 h 606061"/>
                <a:gd name="connsiteX165" fmla="*/ 112744 w 572723"/>
                <a:gd name="connsiteY165" fmla="*/ 59576 h 606061"/>
                <a:gd name="connsiteX166" fmla="*/ 109736 w 572723"/>
                <a:gd name="connsiteY166" fmla="*/ 61582 h 606061"/>
                <a:gd name="connsiteX167" fmla="*/ 109736 w 572723"/>
                <a:gd name="connsiteY167" fmla="*/ 61582 h 606061"/>
                <a:gd name="connsiteX168" fmla="*/ 107730 w 572723"/>
                <a:gd name="connsiteY168" fmla="*/ 61582 h 606061"/>
                <a:gd name="connsiteX169" fmla="*/ 107730 w 572723"/>
                <a:gd name="connsiteY169" fmla="*/ 60579 h 606061"/>
                <a:gd name="connsiteX170" fmla="*/ 96697 w 572723"/>
                <a:gd name="connsiteY170" fmla="*/ 70606 h 606061"/>
                <a:gd name="connsiteX171" fmla="*/ 83659 w 572723"/>
                <a:gd name="connsiteY171" fmla="*/ 86650 h 606061"/>
                <a:gd name="connsiteX172" fmla="*/ 81653 w 572723"/>
                <a:gd name="connsiteY172" fmla="*/ 90661 h 606061"/>
                <a:gd name="connsiteX173" fmla="*/ 61595 w 572723"/>
                <a:gd name="connsiteY173" fmla="*/ 114726 h 606061"/>
                <a:gd name="connsiteX174" fmla="*/ 64603 w 572723"/>
                <a:gd name="connsiteY174" fmla="*/ 115729 h 606061"/>
                <a:gd name="connsiteX175" fmla="*/ 59589 w 572723"/>
                <a:gd name="connsiteY175" fmla="*/ 123751 h 606061"/>
                <a:gd name="connsiteX176" fmla="*/ 54574 w 572723"/>
                <a:gd name="connsiteY176" fmla="*/ 125756 h 606061"/>
                <a:gd name="connsiteX177" fmla="*/ 49559 w 572723"/>
                <a:gd name="connsiteY177" fmla="*/ 126759 h 606061"/>
                <a:gd name="connsiteX178" fmla="*/ 43542 w 572723"/>
                <a:gd name="connsiteY178" fmla="*/ 138792 h 606061"/>
                <a:gd name="connsiteX179" fmla="*/ 42539 w 572723"/>
                <a:gd name="connsiteY179" fmla="*/ 146813 h 606061"/>
                <a:gd name="connsiteX180" fmla="*/ 34515 w 572723"/>
                <a:gd name="connsiteY180" fmla="*/ 158846 h 606061"/>
                <a:gd name="connsiteX181" fmla="*/ 32509 w 572723"/>
                <a:gd name="connsiteY181" fmla="*/ 156841 h 606061"/>
                <a:gd name="connsiteX182" fmla="*/ 22480 w 572723"/>
                <a:gd name="connsiteY182" fmla="*/ 175892 h 606061"/>
                <a:gd name="connsiteX183" fmla="*/ 19471 w 572723"/>
                <a:gd name="connsiteY183" fmla="*/ 196950 h 606061"/>
                <a:gd name="connsiteX184" fmla="*/ 17465 w 572723"/>
                <a:gd name="connsiteY184" fmla="*/ 204971 h 6060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6061">
                  <a:moveTo>
                    <a:pt x="17465" y="204971"/>
                  </a:moveTo>
                  <a:lnTo>
                    <a:pt x="15460" y="211990"/>
                  </a:lnTo>
                  <a:cubicBezTo>
                    <a:pt x="20474" y="187925"/>
                    <a:pt x="29501" y="163860"/>
                    <a:pt x="40533" y="140797"/>
                  </a:cubicBezTo>
                  <a:cubicBezTo>
                    <a:pt x="25489" y="163860"/>
                    <a:pt x="12451" y="192939"/>
                    <a:pt x="6433" y="221015"/>
                  </a:cubicBezTo>
                  <a:cubicBezTo>
                    <a:pt x="415" y="249091"/>
                    <a:pt x="1418" y="277168"/>
                    <a:pt x="8439" y="298225"/>
                  </a:cubicBezTo>
                  <a:cubicBezTo>
                    <a:pt x="4427" y="300230"/>
                    <a:pt x="1418" y="315271"/>
                    <a:pt x="415" y="329309"/>
                  </a:cubicBezTo>
                  <a:cubicBezTo>
                    <a:pt x="-588" y="343348"/>
                    <a:pt x="415" y="357386"/>
                    <a:pt x="1418" y="357386"/>
                  </a:cubicBezTo>
                  <a:cubicBezTo>
                    <a:pt x="4427" y="368416"/>
                    <a:pt x="7436" y="379446"/>
                    <a:pt x="10445" y="390476"/>
                  </a:cubicBezTo>
                  <a:cubicBezTo>
                    <a:pt x="8439" y="382454"/>
                    <a:pt x="6433" y="375435"/>
                    <a:pt x="4427" y="367413"/>
                  </a:cubicBezTo>
                  <a:cubicBezTo>
                    <a:pt x="6433" y="374432"/>
                    <a:pt x="8439" y="382454"/>
                    <a:pt x="10445" y="390476"/>
                  </a:cubicBezTo>
                  <a:cubicBezTo>
                    <a:pt x="15460" y="407522"/>
                    <a:pt x="21477" y="425571"/>
                    <a:pt x="29501" y="443620"/>
                  </a:cubicBezTo>
                  <a:cubicBezTo>
                    <a:pt x="37524" y="461669"/>
                    <a:pt x="47553" y="478716"/>
                    <a:pt x="60592" y="494759"/>
                  </a:cubicBezTo>
                  <a:cubicBezTo>
                    <a:pt x="86668" y="525844"/>
                    <a:pt x="120768" y="549909"/>
                    <a:pt x="156874" y="567958"/>
                  </a:cubicBezTo>
                  <a:cubicBezTo>
                    <a:pt x="176932" y="577985"/>
                    <a:pt x="216047" y="592024"/>
                    <a:pt x="257167" y="599043"/>
                  </a:cubicBezTo>
                  <a:cubicBezTo>
                    <a:pt x="278229" y="603054"/>
                    <a:pt x="299291" y="605059"/>
                    <a:pt x="317344" y="606062"/>
                  </a:cubicBezTo>
                  <a:cubicBezTo>
                    <a:pt x="336399" y="606062"/>
                    <a:pt x="353449" y="606062"/>
                    <a:pt x="364481" y="605059"/>
                  </a:cubicBezTo>
                  <a:cubicBezTo>
                    <a:pt x="371502" y="604056"/>
                    <a:pt x="378522" y="604056"/>
                    <a:pt x="385543" y="602051"/>
                  </a:cubicBezTo>
                  <a:cubicBezTo>
                    <a:pt x="373508" y="604056"/>
                    <a:pt x="373508" y="603054"/>
                    <a:pt x="362476" y="604056"/>
                  </a:cubicBezTo>
                  <a:cubicBezTo>
                    <a:pt x="390558" y="598040"/>
                    <a:pt x="415631" y="589015"/>
                    <a:pt x="438699" y="576983"/>
                  </a:cubicBezTo>
                  <a:cubicBezTo>
                    <a:pt x="433684" y="577985"/>
                    <a:pt x="432681" y="576983"/>
                    <a:pt x="422652" y="578988"/>
                  </a:cubicBezTo>
                  <a:cubicBezTo>
                    <a:pt x="426664" y="577985"/>
                    <a:pt x="430675" y="576983"/>
                    <a:pt x="434687" y="574977"/>
                  </a:cubicBezTo>
                  <a:cubicBezTo>
                    <a:pt x="444716" y="567958"/>
                    <a:pt x="467784" y="553920"/>
                    <a:pt x="476810" y="544896"/>
                  </a:cubicBezTo>
                  <a:cubicBezTo>
                    <a:pt x="475807" y="547904"/>
                    <a:pt x="483831" y="541887"/>
                    <a:pt x="490852" y="535871"/>
                  </a:cubicBezTo>
                  <a:lnTo>
                    <a:pt x="487843" y="536874"/>
                  </a:lnTo>
                  <a:cubicBezTo>
                    <a:pt x="500881" y="525844"/>
                    <a:pt x="512916" y="511806"/>
                    <a:pt x="521943" y="496765"/>
                  </a:cubicBezTo>
                  <a:cubicBezTo>
                    <a:pt x="530969" y="481724"/>
                    <a:pt x="537990" y="465680"/>
                    <a:pt x="543004" y="452645"/>
                  </a:cubicBezTo>
                  <a:cubicBezTo>
                    <a:pt x="544007" y="448634"/>
                    <a:pt x="546013" y="446628"/>
                    <a:pt x="547016" y="444623"/>
                  </a:cubicBezTo>
                  <a:cubicBezTo>
                    <a:pt x="549022" y="435598"/>
                    <a:pt x="552031" y="426574"/>
                    <a:pt x="553034" y="417549"/>
                  </a:cubicBezTo>
                  <a:cubicBezTo>
                    <a:pt x="555039" y="420557"/>
                    <a:pt x="560054" y="395489"/>
                    <a:pt x="559051" y="409528"/>
                  </a:cubicBezTo>
                  <a:cubicBezTo>
                    <a:pt x="561057" y="388470"/>
                    <a:pt x="566072" y="369418"/>
                    <a:pt x="566072" y="350367"/>
                  </a:cubicBezTo>
                  <a:cubicBezTo>
                    <a:pt x="571086" y="317277"/>
                    <a:pt x="575098" y="281179"/>
                    <a:pt x="571086" y="244078"/>
                  </a:cubicBezTo>
                  <a:cubicBezTo>
                    <a:pt x="567075" y="206977"/>
                    <a:pt x="552031" y="169876"/>
                    <a:pt x="528963" y="142802"/>
                  </a:cubicBezTo>
                  <a:lnTo>
                    <a:pt x="528963" y="144808"/>
                  </a:lnTo>
                  <a:cubicBezTo>
                    <a:pt x="512916" y="125756"/>
                    <a:pt x="493860" y="112721"/>
                    <a:pt x="469790" y="94672"/>
                  </a:cubicBezTo>
                  <a:cubicBezTo>
                    <a:pt x="459760" y="89658"/>
                    <a:pt x="447725" y="84644"/>
                    <a:pt x="437696" y="81636"/>
                  </a:cubicBezTo>
                  <a:cubicBezTo>
                    <a:pt x="432681" y="79631"/>
                    <a:pt x="427667" y="78628"/>
                    <a:pt x="422652" y="78628"/>
                  </a:cubicBezTo>
                  <a:cubicBezTo>
                    <a:pt x="418640" y="78628"/>
                    <a:pt x="414628" y="77625"/>
                    <a:pt x="412623" y="78628"/>
                  </a:cubicBezTo>
                  <a:cubicBezTo>
                    <a:pt x="406605" y="77625"/>
                    <a:pt x="401590" y="76623"/>
                    <a:pt x="397579" y="75620"/>
                  </a:cubicBezTo>
                  <a:cubicBezTo>
                    <a:pt x="392564" y="75620"/>
                    <a:pt x="388552" y="74617"/>
                    <a:pt x="384540" y="74617"/>
                  </a:cubicBezTo>
                  <a:cubicBezTo>
                    <a:pt x="380528" y="74617"/>
                    <a:pt x="376517" y="74617"/>
                    <a:pt x="372505" y="74617"/>
                  </a:cubicBezTo>
                  <a:cubicBezTo>
                    <a:pt x="368493" y="74617"/>
                    <a:pt x="363478" y="74617"/>
                    <a:pt x="357461" y="75620"/>
                  </a:cubicBezTo>
                  <a:cubicBezTo>
                    <a:pt x="360470" y="76623"/>
                    <a:pt x="355455" y="77625"/>
                    <a:pt x="350440" y="78628"/>
                  </a:cubicBezTo>
                  <a:cubicBezTo>
                    <a:pt x="346429" y="79631"/>
                    <a:pt x="341414" y="80633"/>
                    <a:pt x="347432" y="80633"/>
                  </a:cubicBezTo>
                  <a:cubicBezTo>
                    <a:pt x="361473" y="83642"/>
                    <a:pt x="362476" y="80633"/>
                    <a:pt x="374511" y="83642"/>
                  </a:cubicBezTo>
                  <a:lnTo>
                    <a:pt x="374511" y="82639"/>
                  </a:lnTo>
                  <a:cubicBezTo>
                    <a:pt x="402593" y="86650"/>
                    <a:pt x="428669" y="97680"/>
                    <a:pt x="451737" y="113723"/>
                  </a:cubicBezTo>
                  <a:cubicBezTo>
                    <a:pt x="474804" y="129767"/>
                    <a:pt x="494863" y="149822"/>
                    <a:pt x="507902" y="173887"/>
                  </a:cubicBezTo>
                  <a:cubicBezTo>
                    <a:pt x="518934" y="188928"/>
                    <a:pt x="525954" y="206977"/>
                    <a:pt x="528963" y="226029"/>
                  </a:cubicBezTo>
                  <a:cubicBezTo>
                    <a:pt x="532975" y="245080"/>
                    <a:pt x="532975" y="266138"/>
                    <a:pt x="531972" y="286192"/>
                  </a:cubicBezTo>
                  <a:cubicBezTo>
                    <a:pt x="530969" y="308252"/>
                    <a:pt x="527960" y="332318"/>
                    <a:pt x="524951" y="355380"/>
                  </a:cubicBezTo>
                  <a:cubicBezTo>
                    <a:pt x="521943" y="378443"/>
                    <a:pt x="518934" y="400503"/>
                    <a:pt x="513919" y="418552"/>
                  </a:cubicBezTo>
                  <a:cubicBezTo>
                    <a:pt x="511913" y="427577"/>
                    <a:pt x="507902" y="432590"/>
                    <a:pt x="503890" y="439609"/>
                  </a:cubicBezTo>
                  <a:cubicBezTo>
                    <a:pt x="497872" y="455653"/>
                    <a:pt x="489849" y="472699"/>
                    <a:pt x="477813" y="487740"/>
                  </a:cubicBezTo>
                  <a:cubicBezTo>
                    <a:pt x="465778" y="502781"/>
                    <a:pt x="450734" y="515816"/>
                    <a:pt x="434687" y="525844"/>
                  </a:cubicBezTo>
                  <a:cubicBezTo>
                    <a:pt x="435690" y="525844"/>
                    <a:pt x="435690" y="524841"/>
                    <a:pt x="436693" y="524841"/>
                  </a:cubicBezTo>
                  <a:cubicBezTo>
                    <a:pt x="419643" y="534868"/>
                    <a:pt x="404599" y="538879"/>
                    <a:pt x="385543" y="543893"/>
                  </a:cubicBezTo>
                  <a:cubicBezTo>
                    <a:pt x="385543" y="544896"/>
                    <a:pt x="382534" y="545898"/>
                    <a:pt x="381531" y="545898"/>
                  </a:cubicBezTo>
                  <a:cubicBezTo>
                    <a:pt x="380528" y="544896"/>
                    <a:pt x="372505" y="546901"/>
                    <a:pt x="361473" y="548906"/>
                  </a:cubicBezTo>
                  <a:cubicBezTo>
                    <a:pt x="350440" y="550912"/>
                    <a:pt x="335396" y="552917"/>
                    <a:pt x="320352" y="554923"/>
                  </a:cubicBezTo>
                  <a:cubicBezTo>
                    <a:pt x="289261" y="556928"/>
                    <a:pt x="257167" y="553920"/>
                    <a:pt x="254158" y="551915"/>
                  </a:cubicBezTo>
                  <a:cubicBezTo>
                    <a:pt x="252153" y="551915"/>
                    <a:pt x="250147" y="550912"/>
                    <a:pt x="247138" y="550912"/>
                  </a:cubicBezTo>
                  <a:cubicBezTo>
                    <a:pt x="226076" y="545898"/>
                    <a:pt x="204012" y="537876"/>
                    <a:pt x="184956" y="527849"/>
                  </a:cubicBezTo>
                  <a:cubicBezTo>
                    <a:pt x="165900" y="518825"/>
                    <a:pt x="148850" y="507795"/>
                    <a:pt x="133806" y="498770"/>
                  </a:cubicBezTo>
                  <a:cubicBezTo>
                    <a:pt x="126786" y="495762"/>
                    <a:pt x="118762" y="491751"/>
                    <a:pt x="112744" y="488743"/>
                  </a:cubicBezTo>
                  <a:cubicBezTo>
                    <a:pt x="108733" y="483729"/>
                    <a:pt x="105724" y="484732"/>
                    <a:pt x="100709" y="478716"/>
                  </a:cubicBezTo>
                  <a:cubicBezTo>
                    <a:pt x="91683" y="460667"/>
                    <a:pt x="84662" y="452645"/>
                    <a:pt x="87671" y="462672"/>
                  </a:cubicBezTo>
                  <a:cubicBezTo>
                    <a:pt x="76639" y="450639"/>
                    <a:pt x="69618" y="436601"/>
                    <a:pt x="64603" y="423566"/>
                  </a:cubicBezTo>
                  <a:cubicBezTo>
                    <a:pt x="61595" y="417549"/>
                    <a:pt x="58586" y="411533"/>
                    <a:pt x="56580" y="405517"/>
                  </a:cubicBezTo>
                  <a:cubicBezTo>
                    <a:pt x="54574" y="400503"/>
                    <a:pt x="54574" y="396492"/>
                    <a:pt x="55577" y="393484"/>
                  </a:cubicBezTo>
                  <a:cubicBezTo>
                    <a:pt x="51565" y="379446"/>
                    <a:pt x="53571" y="383457"/>
                    <a:pt x="51565" y="367413"/>
                  </a:cubicBezTo>
                  <a:cubicBezTo>
                    <a:pt x="52568" y="365408"/>
                    <a:pt x="49559" y="355380"/>
                    <a:pt x="47553" y="345353"/>
                  </a:cubicBezTo>
                  <a:cubicBezTo>
                    <a:pt x="45548" y="335326"/>
                    <a:pt x="43542" y="325299"/>
                    <a:pt x="43542" y="323293"/>
                  </a:cubicBezTo>
                  <a:lnTo>
                    <a:pt x="43542" y="326301"/>
                  </a:lnTo>
                  <a:cubicBezTo>
                    <a:pt x="42539" y="307249"/>
                    <a:pt x="47553" y="295217"/>
                    <a:pt x="48556" y="278170"/>
                  </a:cubicBezTo>
                  <a:cubicBezTo>
                    <a:pt x="50562" y="253102"/>
                    <a:pt x="54574" y="228034"/>
                    <a:pt x="61595" y="203969"/>
                  </a:cubicBezTo>
                  <a:cubicBezTo>
                    <a:pt x="67612" y="179903"/>
                    <a:pt x="77641" y="156841"/>
                    <a:pt x="89677" y="137789"/>
                  </a:cubicBezTo>
                  <a:cubicBezTo>
                    <a:pt x="87671" y="135783"/>
                    <a:pt x="85665" y="146813"/>
                    <a:pt x="82656" y="145811"/>
                  </a:cubicBezTo>
                  <a:cubicBezTo>
                    <a:pt x="95694" y="121745"/>
                    <a:pt x="113747" y="102693"/>
                    <a:pt x="132803" y="85647"/>
                  </a:cubicBezTo>
                  <a:cubicBezTo>
                    <a:pt x="136815" y="82639"/>
                    <a:pt x="141830" y="80633"/>
                    <a:pt x="143835" y="79631"/>
                  </a:cubicBezTo>
                  <a:cubicBezTo>
                    <a:pt x="150856" y="74617"/>
                    <a:pt x="146844" y="75620"/>
                    <a:pt x="151859" y="72612"/>
                  </a:cubicBezTo>
                  <a:lnTo>
                    <a:pt x="153865" y="73614"/>
                  </a:lnTo>
                  <a:cubicBezTo>
                    <a:pt x="159882" y="66595"/>
                    <a:pt x="165900" y="68601"/>
                    <a:pt x="171918" y="62584"/>
                  </a:cubicBezTo>
                  <a:cubicBezTo>
                    <a:pt x="171918" y="61582"/>
                    <a:pt x="173923" y="59576"/>
                    <a:pt x="176932" y="58573"/>
                  </a:cubicBezTo>
                  <a:cubicBezTo>
                    <a:pt x="177935" y="60579"/>
                    <a:pt x="184956" y="53560"/>
                    <a:pt x="184956" y="56568"/>
                  </a:cubicBezTo>
                  <a:lnTo>
                    <a:pt x="184956" y="56568"/>
                  </a:lnTo>
                  <a:cubicBezTo>
                    <a:pt x="186962" y="55565"/>
                    <a:pt x="187964" y="55565"/>
                    <a:pt x="189970" y="54563"/>
                  </a:cubicBezTo>
                  <a:cubicBezTo>
                    <a:pt x="190973" y="53560"/>
                    <a:pt x="197994" y="47543"/>
                    <a:pt x="206018" y="43533"/>
                  </a:cubicBezTo>
                  <a:cubicBezTo>
                    <a:pt x="213038" y="38519"/>
                    <a:pt x="221062" y="34508"/>
                    <a:pt x="223067" y="33505"/>
                  </a:cubicBezTo>
                  <a:lnTo>
                    <a:pt x="225073" y="33505"/>
                  </a:lnTo>
                  <a:cubicBezTo>
                    <a:pt x="230088" y="32503"/>
                    <a:pt x="231091" y="30497"/>
                    <a:pt x="228082" y="30497"/>
                  </a:cubicBezTo>
                  <a:lnTo>
                    <a:pt x="234100" y="29494"/>
                  </a:lnTo>
                  <a:lnTo>
                    <a:pt x="233097" y="29494"/>
                  </a:lnTo>
                  <a:lnTo>
                    <a:pt x="239114" y="28492"/>
                  </a:lnTo>
                  <a:cubicBezTo>
                    <a:pt x="240117" y="28492"/>
                    <a:pt x="241120" y="29494"/>
                    <a:pt x="240117" y="30497"/>
                  </a:cubicBezTo>
                  <a:cubicBezTo>
                    <a:pt x="243126" y="29494"/>
                    <a:pt x="247138" y="28492"/>
                    <a:pt x="250147" y="28492"/>
                  </a:cubicBezTo>
                  <a:cubicBezTo>
                    <a:pt x="241120" y="28492"/>
                    <a:pt x="229085" y="28492"/>
                    <a:pt x="219056" y="29494"/>
                  </a:cubicBezTo>
                  <a:cubicBezTo>
                    <a:pt x="223067" y="27489"/>
                    <a:pt x="230088" y="27489"/>
                    <a:pt x="234100" y="25483"/>
                  </a:cubicBezTo>
                  <a:cubicBezTo>
                    <a:pt x="237109" y="25483"/>
                    <a:pt x="241120" y="25483"/>
                    <a:pt x="245132" y="25483"/>
                  </a:cubicBezTo>
                  <a:cubicBezTo>
                    <a:pt x="249144" y="25483"/>
                    <a:pt x="254158" y="25483"/>
                    <a:pt x="258170" y="25483"/>
                  </a:cubicBezTo>
                  <a:cubicBezTo>
                    <a:pt x="260176" y="25483"/>
                    <a:pt x="261179" y="22475"/>
                    <a:pt x="265191" y="23478"/>
                  </a:cubicBezTo>
                  <a:cubicBezTo>
                    <a:pt x="267197" y="25483"/>
                    <a:pt x="270205" y="23478"/>
                    <a:pt x="273214" y="24481"/>
                  </a:cubicBezTo>
                  <a:cubicBezTo>
                    <a:pt x="269202" y="25483"/>
                    <a:pt x="265191" y="25483"/>
                    <a:pt x="261179" y="25483"/>
                  </a:cubicBezTo>
                  <a:cubicBezTo>
                    <a:pt x="261179" y="26486"/>
                    <a:pt x="264188" y="26486"/>
                    <a:pt x="266194" y="26486"/>
                  </a:cubicBezTo>
                  <a:cubicBezTo>
                    <a:pt x="269202" y="26486"/>
                    <a:pt x="272211" y="26486"/>
                    <a:pt x="273214" y="26486"/>
                  </a:cubicBezTo>
                  <a:cubicBezTo>
                    <a:pt x="274217" y="25483"/>
                    <a:pt x="282241" y="26486"/>
                    <a:pt x="287255" y="26486"/>
                  </a:cubicBezTo>
                  <a:cubicBezTo>
                    <a:pt x="285249" y="28492"/>
                    <a:pt x="291267" y="28492"/>
                    <a:pt x="293273" y="29494"/>
                  </a:cubicBezTo>
                  <a:cubicBezTo>
                    <a:pt x="296282" y="29494"/>
                    <a:pt x="298288" y="29494"/>
                    <a:pt x="297285" y="28492"/>
                  </a:cubicBezTo>
                  <a:cubicBezTo>
                    <a:pt x="298288" y="26486"/>
                    <a:pt x="285249" y="25483"/>
                    <a:pt x="289261" y="23478"/>
                  </a:cubicBezTo>
                  <a:cubicBezTo>
                    <a:pt x="290264" y="24481"/>
                    <a:pt x="296282" y="24481"/>
                    <a:pt x="300294" y="25483"/>
                  </a:cubicBezTo>
                  <a:cubicBezTo>
                    <a:pt x="300294" y="24481"/>
                    <a:pt x="298288" y="24481"/>
                    <a:pt x="300294" y="23478"/>
                  </a:cubicBezTo>
                  <a:cubicBezTo>
                    <a:pt x="304305" y="24481"/>
                    <a:pt x="308317" y="23478"/>
                    <a:pt x="310323" y="25483"/>
                  </a:cubicBezTo>
                  <a:cubicBezTo>
                    <a:pt x="309320" y="25483"/>
                    <a:pt x="308317" y="25483"/>
                    <a:pt x="307314" y="24481"/>
                  </a:cubicBezTo>
                  <a:cubicBezTo>
                    <a:pt x="309320" y="25483"/>
                    <a:pt x="302300" y="25483"/>
                    <a:pt x="296282" y="26486"/>
                  </a:cubicBezTo>
                  <a:cubicBezTo>
                    <a:pt x="289261" y="27489"/>
                    <a:pt x="283243" y="29494"/>
                    <a:pt x="286252" y="28492"/>
                  </a:cubicBezTo>
                  <a:cubicBezTo>
                    <a:pt x="285249" y="28492"/>
                    <a:pt x="292270" y="26486"/>
                    <a:pt x="299291" y="25483"/>
                  </a:cubicBezTo>
                  <a:cubicBezTo>
                    <a:pt x="306311" y="25483"/>
                    <a:pt x="313332" y="24481"/>
                    <a:pt x="311326" y="24481"/>
                  </a:cubicBezTo>
                  <a:cubicBezTo>
                    <a:pt x="308317" y="23478"/>
                    <a:pt x="314335" y="22475"/>
                    <a:pt x="311326" y="21473"/>
                  </a:cubicBezTo>
                  <a:lnTo>
                    <a:pt x="307314" y="22475"/>
                  </a:lnTo>
                  <a:cubicBezTo>
                    <a:pt x="303302" y="21473"/>
                    <a:pt x="302300" y="18464"/>
                    <a:pt x="303302" y="18464"/>
                  </a:cubicBezTo>
                  <a:cubicBezTo>
                    <a:pt x="307314" y="19467"/>
                    <a:pt x="301297" y="20470"/>
                    <a:pt x="296282" y="21473"/>
                  </a:cubicBezTo>
                  <a:cubicBezTo>
                    <a:pt x="291267" y="22475"/>
                    <a:pt x="285249" y="24481"/>
                    <a:pt x="288258" y="23478"/>
                  </a:cubicBezTo>
                  <a:lnTo>
                    <a:pt x="290264" y="24481"/>
                  </a:lnTo>
                  <a:cubicBezTo>
                    <a:pt x="293273" y="24481"/>
                    <a:pt x="300294" y="23478"/>
                    <a:pt x="302300" y="25483"/>
                  </a:cubicBezTo>
                  <a:cubicBezTo>
                    <a:pt x="302300" y="24481"/>
                    <a:pt x="306311" y="24481"/>
                    <a:pt x="309320" y="24481"/>
                  </a:cubicBezTo>
                  <a:lnTo>
                    <a:pt x="310323" y="24481"/>
                  </a:lnTo>
                  <a:cubicBezTo>
                    <a:pt x="313332" y="24481"/>
                    <a:pt x="317344" y="25483"/>
                    <a:pt x="316341" y="23478"/>
                  </a:cubicBezTo>
                  <a:cubicBezTo>
                    <a:pt x="307314" y="22475"/>
                    <a:pt x="311326" y="19467"/>
                    <a:pt x="314335" y="16459"/>
                  </a:cubicBezTo>
                  <a:cubicBezTo>
                    <a:pt x="318346" y="13451"/>
                    <a:pt x="322358" y="11445"/>
                    <a:pt x="313332" y="9440"/>
                  </a:cubicBezTo>
                  <a:cubicBezTo>
                    <a:pt x="320352" y="13451"/>
                    <a:pt x="310323" y="11445"/>
                    <a:pt x="302300" y="10443"/>
                  </a:cubicBezTo>
                  <a:cubicBezTo>
                    <a:pt x="301297" y="9440"/>
                    <a:pt x="298288" y="7434"/>
                    <a:pt x="292270" y="6432"/>
                  </a:cubicBezTo>
                  <a:cubicBezTo>
                    <a:pt x="287255" y="6432"/>
                    <a:pt x="289261" y="7434"/>
                    <a:pt x="288258" y="7434"/>
                  </a:cubicBezTo>
                  <a:cubicBezTo>
                    <a:pt x="285249" y="6432"/>
                    <a:pt x="280235" y="6432"/>
                    <a:pt x="281238" y="4426"/>
                  </a:cubicBezTo>
                  <a:cubicBezTo>
                    <a:pt x="277226" y="6432"/>
                    <a:pt x="275220" y="3424"/>
                    <a:pt x="270205" y="4426"/>
                  </a:cubicBezTo>
                  <a:cubicBezTo>
                    <a:pt x="266194" y="5429"/>
                    <a:pt x="270205" y="5429"/>
                    <a:pt x="267197" y="6432"/>
                  </a:cubicBezTo>
                  <a:cubicBezTo>
                    <a:pt x="261179" y="6432"/>
                    <a:pt x="252153" y="7434"/>
                    <a:pt x="247138" y="7434"/>
                  </a:cubicBezTo>
                  <a:cubicBezTo>
                    <a:pt x="245132" y="6432"/>
                    <a:pt x="239114" y="5429"/>
                    <a:pt x="243126" y="2421"/>
                  </a:cubicBezTo>
                  <a:cubicBezTo>
                    <a:pt x="253155" y="1418"/>
                    <a:pt x="240117" y="6432"/>
                    <a:pt x="250147" y="4426"/>
                  </a:cubicBezTo>
                  <a:cubicBezTo>
                    <a:pt x="245132" y="2421"/>
                    <a:pt x="259173" y="2421"/>
                    <a:pt x="260176" y="415"/>
                  </a:cubicBezTo>
                  <a:cubicBezTo>
                    <a:pt x="257167" y="-587"/>
                    <a:pt x="250147" y="415"/>
                    <a:pt x="245132" y="1418"/>
                  </a:cubicBezTo>
                  <a:lnTo>
                    <a:pt x="246135" y="1418"/>
                  </a:lnTo>
                  <a:cubicBezTo>
                    <a:pt x="241120" y="2421"/>
                    <a:pt x="232094" y="5429"/>
                    <a:pt x="226076" y="4426"/>
                  </a:cubicBezTo>
                  <a:cubicBezTo>
                    <a:pt x="227079" y="3424"/>
                    <a:pt x="225073" y="2421"/>
                    <a:pt x="228082" y="1418"/>
                  </a:cubicBezTo>
                  <a:lnTo>
                    <a:pt x="220059" y="4426"/>
                  </a:lnTo>
                  <a:cubicBezTo>
                    <a:pt x="219056" y="5429"/>
                    <a:pt x="218053" y="5429"/>
                    <a:pt x="220059" y="5429"/>
                  </a:cubicBezTo>
                  <a:cubicBezTo>
                    <a:pt x="217050" y="7434"/>
                    <a:pt x="214041" y="7434"/>
                    <a:pt x="211032" y="7434"/>
                  </a:cubicBezTo>
                  <a:cubicBezTo>
                    <a:pt x="210029" y="7434"/>
                    <a:pt x="202006" y="10443"/>
                    <a:pt x="194985" y="15456"/>
                  </a:cubicBezTo>
                  <a:cubicBezTo>
                    <a:pt x="186962" y="19467"/>
                    <a:pt x="179941" y="24481"/>
                    <a:pt x="180944" y="24481"/>
                  </a:cubicBezTo>
                  <a:cubicBezTo>
                    <a:pt x="176932" y="26486"/>
                    <a:pt x="174926" y="25483"/>
                    <a:pt x="170915" y="28492"/>
                  </a:cubicBezTo>
                  <a:cubicBezTo>
                    <a:pt x="170915" y="28492"/>
                    <a:pt x="172920" y="27489"/>
                    <a:pt x="176932" y="25483"/>
                  </a:cubicBezTo>
                  <a:cubicBezTo>
                    <a:pt x="180944" y="23478"/>
                    <a:pt x="184956" y="20470"/>
                    <a:pt x="189970" y="17462"/>
                  </a:cubicBezTo>
                  <a:cubicBezTo>
                    <a:pt x="194985" y="15456"/>
                    <a:pt x="198997" y="12448"/>
                    <a:pt x="203009" y="10443"/>
                  </a:cubicBezTo>
                  <a:cubicBezTo>
                    <a:pt x="206018" y="9440"/>
                    <a:pt x="208023" y="8437"/>
                    <a:pt x="206018" y="8437"/>
                  </a:cubicBezTo>
                  <a:cubicBezTo>
                    <a:pt x="205015" y="8437"/>
                    <a:pt x="201003" y="9440"/>
                    <a:pt x="195988" y="12448"/>
                  </a:cubicBezTo>
                  <a:cubicBezTo>
                    <a:pt x="190973" y="14454"/>
                    <a:pt x="184956" y="18464"/>
                    <a:pt x="178938" y="21473"/>
                  </a:cubicBezTo>
                  <a:cubicBezTo>
                    <a:pt x="172920" y="24481"/>
                    <a:pt x="167906" y="28492"/>
                    <a:pt x="162891" y="31500"/>
                  </a:cubicBezTo>
                  <a:cubicBezTo>
                    <a:pt x="158879" y="34508"/>
                    <a:pt x="155871" y="36513"/>
                    <a:pt x="154868" y="36513"/>
                  </a:cubicBezTo>
                  <a:cubicBezTo>
                    <a:pt x="151859" y="38519"/>
                    <a:pt x="148850" y="41527"/>
                    <a:pt x="149853" y="41527"/>
                  </a:cubicBezTo>
                  <a:cubicBezTo>
                    <a:pt x="144838" y="44535"/>
                    <a:pt x="149853" y="38519"/>
                    <a:pt x="145841" y="40524"/>
                  </a:cubicBezTo>
                  <a:cubicBezTo>
                    <a:pt x="145841" y="40524"/>
                    <a:pt x="146844" y="40524"/>
                    <a:pt x="144838" y="41527"/>
                  </a:cubicBezTo>
                  <a:cubicBezTo>
                    <a:pt x="143835" y="41527"/>
                    <a:pt x="141830" y="42530"/>
                    <a:pt x="140827" y="42530"/>
                  </a:cubicBezTo>
                  <a:cubicBezTo>
                    <a:pt x="137818" y="46541"/>
                    <a:pt x="132803" y="49549"/>
                    <a:pt x="127788" y="52557"/>
                  </a:cubicBezTo>
                  <a:cubicBezTo>
                    <a:pt x="123777" y="56568"/>
                    <a:pt x="118762" y="60579"/>
                    <a:pt x="115753" y="64590"/>
                  </a:cubicBezTo>
                  <a:cubicBezTo>
                    <a:pt x="116756" y="61582"/>
                    <a:pt x="117759" y="57571"/>
                    <a:pt x="121771" y="52557"/>
                  </a:cubicBezTo>
                  <a:lnTo>
                    <a:pt x="122774" y="52557"/>
                  </a:lnTo>
                  <a:cubicBezTo>
                    <a:pt x="122774" y="51554"/>
                    <a:pt x="126786" y="47543"/>
                    <a:pt x="125783" y="47543"/>
                  </a:cubicBezTo>
                  <a:cubicBezTo>
                    <a:pt x="120768" y="50552"/>
                    <a:pt x="116756" y="54563"/>
                    <a:pt x="112744" y="59576"/>
                  </a:cubicBezTo>
                  <a:cubicBezTo>
                    <a:pt x="111742" y="60579"/>
                    <a:pt x="110739" y="60579"/>
                    <a:pt x="109736" y="61582"/>
                  </a:cubicBezTo>
                  <a:cubicBezTo>
                    <a:pt x="109736" y="61582"/>
                    <a:pt x="109736" y="61582"/>
                    <a:pt x="109736" y="61582"/>
                  </a:cubicBezTo>
                  <a:cubicBezTo>
                    <a:pt x="107730" y="62584"/>
                    <a:pt x="107730" y="62584"/>
                    <a:pt x="107730" y="61582"/>
                  </a:cubicBezTo>
                  <a:cubicBezTo>
                    <a:pt x="107730" y="61582"/>
                    <a:pt x="107730" y="61582"/>
                    <a:pt x="107730" y="60579"/>
                  </a:cubicBezTo>
                  <a:cubicBezTo>
                    <a:pt x="104721" y="60579"/>
                    <a:pt x="101712" y="65593"/>
                    <a:pt x="96697" y="70606"/>
                  </a:cubicBezTo>
                  <a:cubicBezTo>
                    <a:pt x="92685" y="76623"/>
                    <a:pt x="87671" y="82639"/>
                    <a:pt x="83659" y="86650"/>
                  </a:cubicBezTo>
                  <a:cubicBezTo>
                    <a:pt x="81653" y="89658"/>
                    <a:pt x="83659" y="87652"/>
                    <a:pt x="81653" y="90661"/>
                  </a:cubicBezTo>
                  <a:cubicBezTo>
                    <a:pt x="73630" y="98682"/>
                    <a:pt x="68615" y="104699"/>
                    <a:pt x="61595" y="114726"/>
                  </a:cubicBezTo>
                  <a:cubicBezTo>
                    <a:pt x="60592" y="118737"/>
                    <a:pt x="61595" y="119740"/>
                    <a:pt x="64603" y="115729"/>
                  </a:cubicBezTo>
                  <a:lnTo>
                    <a:pt x="59589" y="123751"/>
                  </a:lnTo>
                  <a:cubicBezTo>
                    <a:pt x="59589" y="119740"/>
                    <a:pt x="56580" y="122748"/>
                    <a:pt x="54574" y="125756"/>
                  </a:cubicBezTo>
                  <a:cubicBezTo>
                    <a:pt x="51565" y="128764"/>
                    <a:pt x="49559" y="131772"/>
                    <a:pt x="49559" y="126759"/>
                  </a:cubicBezTo>
                  <a:cubicBezTo>
                    <a:pt x="47553" y="128764"/>
                    <a:pt x="44545" y="133778"/>
                    <a:pt x="43542" y="138792"/>
                  </a:cubicBezTo>
                  <a:cubicBezTo>
                    <a:pt x="44545" y="139794"/>
                    <a:pt x="45548" y="140797"/>
                    <a:pt x="42539" y="146813"/>
                  </a:cubicBezTo>
                  <a:cubicBezTo>
                    <a:pt x="37524" y="154835"/>
                    <a:pt x="38527" y="152830"/>
                    <a:pt x="34515" y="158846"/>
                  </a:cubicBezTo>
                  <a:cubicBezTo>
                    <a:pt x="32509" y="159849"/>
                    <a:pt x="33512" y="156841"/>
                    <a:pt x="32509" y="156841"/>
                  </a:cubicBezTo>
                  <a:cubicBezTo>
                    <a:pt x="30504" y="167871"/>
                    <a:pt x="26492" y="164862"/>
                    <a:pt x="22480" y="175892"/>
                  </a:cubicBezTo>
                  <a:cubicBezTo>
                    <a:pt x="20474" y="182911"/>
                    <a:pt x="17465" y="195947"/>
                    <a:pt x="19471" y="196950"/>
                  </a:cubicBezTo>
                  <a:cubicBezTo>
                    <a:pt x="20474" y="206977"/>
                    <a:pt x="19471" y="205974"/>
                    <a:pt x="17465" y="204971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  <p:grpSp>
        <p:nvGrpSpPr>
          <p:cNvPr id="23" name="Gruppe 22">
            <a:extLst>
              <a:ext uri="{FF2B5EF4-FFF2-40B4-BE49-F238E27FC236}">
                <a16:creationId xmlns:a16="http://schemas.microsoft.com/office/drawing/2014/main" id="{9EE11248-F3BF-864C-A177-EBFB23D8503C}"/>
              </a:ext>
            </a:extLst>
          </p:cNvPr>
          <p:cNvGrpSpPr/>
          <p:nvPr userDrawn="1"/>
        </p:nvGrpSpPr>
        <p:grpSpPr>
          <a:xfrm>
            <a:off x="1963011" y="4537331"/>
            <a:ext cx="859086" cy="1313436"/>
            <a:chOff x="2203157" y="4098931"/>
            <a:chExt cx="572724" cy="875624"/>
          </a:xfrm>
        </p:grpSpPr>
        <p:sp>
          <p:nvSpPr>
            <p:cNvPr id="13" name="Tekstfelt 12">
              <a:extLst>
                <a:ext uri="{FF2B5EF4-FFF2-40B4-BE49-F238E27FC236}">
                  <a16:creationId xmlns:a16="http://schemas.microsoft.com/office/drawing/2014/main" id="{79CFF0CC-1C59-7142-A8CC-AF4FDFDE936E}"/>
                </a:ext>
              </a:extLst>
            </p:cNvPr>
            <p:cNvSpPr txBox="1"/>
            <p:nvPr/>
          </p:nvSpPr>
          <p:spPr>
            <a:xfrm>
              <a:off x="2267799" y="4098931"/>
              <a:ext cx="467222" cy="875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7935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2</a:t>
              </a:r>
            </a:p>
          </p:txBody>
        </p:sp>
        <p:sp>
          <p:nvSpPr>
            <p:cNvPr id="19" name="Kombinationstegning 18">
              <a:extLst>
                <a:ext uri="{FF2B5EF4-FFF2-40B4-BE49-F238E27FC236}">
                  <a16:creationId xmlns:a16="http://schemas.microsoft.com/office/drawing/2014/main" id="{98186A7F-E04F-A344-8C97-E1F4020EE1C7}"/>
                </a:ext>
              </a:extLst>
            </p:cNvPr>
            <p:cNvSpPr/>
            <p:nvPr/>
          </p:nvSpPr>
          <p:spPr>
            <a:xfrm>
              <a:off x="2203157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60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0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3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0 w 572724"/>
                <a:gd name="connsiteY85" fmla="*/ 56568 h 608067"/>
                <a:gd name="connsiteX86" fmla="*/ 206018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2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3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5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49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  <p:grpSp>
        <p:nvGrpSpPr>
          <p:cNvPr id="24" name="Gruppe 23">
            <a:extLst>
              <a:ext uri="{FF2B5EF4-FFF2-40B4-BE49-F238E27FC236}">
                <a16:creationId xmlns:a16="http://schemas.microsoft.com/office/drawing/2014/main" id="{E6FEDFEE-F7B0-4148-A7EE-36285E92E9DE}"/>
              </a:ext>
            </a:extLst>
          </p:cNvPr>
          <p:cNvGrpSpPr/>
          <p:nvPr userDrawn="1"/>
        </p:nvGrpSpPr>
        <p:grpSpPr>
          <a:xfrm>
            <a:off x="1963010" y="5750180"/>
            <a:ext cx="859086" cy="1258806"/>
            <a:chOff x="2960374" y="4076697"/>
            <a:chExt cx="572724" cy="839204"/>
          </a:xfrm>
        </p:grpSpPr>
        <p:sp>
          <p:nvSpPr>
            <p:cNvPr id="14" name="Tekstfelt 13">
              <a:extLst>
                <a:ext uri="{FF2B5EF4-FFF2-40B4-BE49-F238E27FC236}">
                  <a16:creationId xmlns:a16="http://schemas.microsoft.com/office/drawing/2014/main" id="{127A65BA-C169-D54B-B96E-F56314E0BB16}"/>
                </a:ext>
              </a:extLst>
            </p:cNvPr>
            <p:cNvSpPr txBox="1"/>
            <p:nvPr/>
          </p:nvSpPr>
          <p:spPr>
            <a:xfrm>
              <a:off x="3074573" y="4076697"/>
              <a:ext cx="451192" cy="83920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7580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3</a:t>
              </a:r>
            </a:p>
          </p:txBody>
        </p:sp>
        <p:sp>
          <p:nvSpPr>
            <p:cNvPr id="20" name="Kombinationstegning 19">
              <a:extLst>
                <a:ext uri="{FF2B5EF4-FFF2-40B4-BE49-F238E27FC236}">
                  <a16:creationId xmlns:a16="http://schemas.microsoft.com/office/drawing/2014/main" id="{6EB7399E-C2DB-DD4F-B1F2-9C7FFD133BBE}"/>
                </a:ext>
              </a:extLst>
            </p:cNvPr>
            <p:cNvSpPr/>
            <p:nvPr/>
          </p:nvSpPr>
          <p:spPr>
            <a:xfrm>
              <a:off x="2960374" y="4178700"/>
              <a:ext cx="572724" cy="608067"/>
            </a:xfrm>
            <a:custGeom>
              <a:avLst/>
              <a:gdLst>
                <a:gd name="connsiteX0" fmla="*/ 17465 w 572724"/>
                <a:gd name="connsiteY0" fmla="*/ 206977 h 608067"/>
                <a:gd name="connsiteX1" fmla="*/ 15459 w 572724"/>
                <a:gd name="connsiteY1" fmla="*/ 213996 h 608067"/>
                <a:gd name="connsiteX2" fmla="*/ 40533 w 572724"/>
                <a:gd name="connsiteY2" fmla="*/ 142802 h 608067"/>
                <a:gd name="connsiteX3" fmla="*/ 6433 w 572724"/>
                <a:gd name="connsiteY3" fmla="*/ 223021 h 608067"/>
                <a:gd name="connsiteX4" fmla="*/ 8439 w 572724"/>
                <a:gd name="connsiteY4" fmla="*/ 300230 h 608067"/>
                <a:gd name="connsiteX5" fmla="*/ 415 w 572724"/>
                <a:gd name="connsiteY5" fmla="*/ 331315 h 608067"/>
                <a:gd name="connsiteX6" fmla="*/ 1418 w 572724"/>
                <a:gd name="connsiteY6" fmla="*/ 359391 h 608067"/>
                <a:gd name="connsiteX7" fmla="*/ 10445 w 572724"/>
                <a:gd name="connsiteY7" fmla="*/ 392481 h 608067"/>
                <a:gd name="connsiteX8" fmla="*/ 4427 w 572724"/>
                <a:gd name="connsiteY8" fmla="*/ 369418 h 608067"/>
                <a:gd name="connsiteX9" fmla="*/ 10445 w 572724"/>
                <a:gd name="connsiteY9" fmla="*/ 392481 h 608067"/>
                <a:gd name="connsiteX10" fmla="*/ 29501 w 572724"/>
                <a:gd name="connsiteY10" fmla="*/ 445626 h 608067"/>
                <a:gd name="connsiteX11" fmla="*/ 60592 w 572724"/>
                <a:gd name="connsiteY11" fmla="*/ 496765 h 608067"/>
                <a:gd name="connsiteX12" fmla="*/ 156874 w 572724"/>
                <a:gd name="connsiteY12" fmla="*/ 569964 h 608067"/>
                <a:gd name="connsiteX13" fmla="*/ 257167 w 572724"/>
                <a:gd name="connsiteY13" fmla="*/ 601048 h 608067"/>
                <a:gd name="connsiteX14" fmla="*/ 317343 w 572724"/>
                <a:gd name="connsiteY14" fmla="*/ 608067 h 608067"/>
                <a:gd name="connsiteX15" fmla="*/ 364482 w 572724"/>
                <a:gd name="connsiteY15" fmla="*/ 607064 h 608067"/>
                <a:gd name="connsiteX16" fmla="*/ 385543 w 572724"/>
                <a:gd name="connsiteY16" fmla="*/ 604056 h 608067"/>
                <a:gd name="connsiteX17" fmla="*/ 362476 w 572724"/>
                <a:gd name="connsiteY17" fmla="*/ 606062 h 608067"/>
                <a:gd name="connsiteX18" fmla="*/ 438699 w 572724"/>
                <a:gd name="connsiteY18" fmla="*/ 578988 h 608067"/>
                <a:gd name="connsiteX19" fmla="*/ 422652 w 572724"/>
                <a:gd name="connsiteY19" fmla="*/ 580994 h 608067"/>
                <a:gd name="connsiteX20" fmla="*/ 434687 w 572724"/>
                <a:gd name="connsiteY20" fmla="*/ 576983 h 608067"/>
                <a:gd name="connsiteX21" fmla="*/ 476810 w 572724"/>
                <a:gd name="connsiteY21" fmla="*/ 546901 h 608067"/>
                <a:gd name="connsiteX22" fmla="*/ 490852 w 572724"/>
                <a:gd name="connsiteY22" fmla="*/ 537876 h 608067"/>
                <a:gd name="connsiteX23" fmla="*/ 487843 w 572724"/>
                <a:gd name="connsiteY23" fmla="*/ 538879 h 608067"/>
                <a:gd name="connsiteX24" fmla="*/ 521942 w 572724"/>
                <a:gd name="connsiteY24" fmla="*/ 498770 h 608067"/>
                <a:gd name="connsiteX25" fmla="*/ 543004 w 572724"/>
                <a:gd name="connsiteY25" fmla="*/ 454650 h 608067"/>
                <a:gd name="connsiteX26" fmla="*/ 547016 w 572724"/>
                <a:gd name="connsiteY26" fmla="*/ 446628 h 608067"/>
                <a:gd name="connsiteX27" fmla="*/ 553034 w 572724"/>
                <a:gd name="connsiteY27" fmla="*/ 419555 h 608067"/>
                <a:gd name="connsiteX28" fmla="*/ 559051 w 572724"/>
                <a:gd name="connsiteY28" fmla="*/ 411533 h 608067"/>
                <a:gd name="connsiteX29" fmla="*/ 566072 w 572724"/>
                <a:gd name="connsiteY29" fmla="*/ 352372 h 608067"/>
                <a:gd name="connsiteX30" fmla="*/ 571087 w 572724"/>
                <a:gd name="connsiteY30" fmla="*/ 246083 h 608067"/>
                <a:gd name="connsiteX31" fmla="*/ 528963 w 572724"/>
                <a:gd name="connsiteY31" fmla="*/ 144808 h 608067"/>
                <a:gd name="connsiteX32" fmla="*/ 528963 w 572724"/>
                <a:gd name="connsiteY32" fmla="*/ 146813 h 608067"/>
                <a:gd name="connsiteX33" fmla="*/ 469790 w 572724"/>
                <a:gd name="connsiteY33" fmla="*/ 96677 h 608067"/>
                <a:gd name="connsiteX34" fmla="*/ 437696 w 572724"/>
                <a:gd name="connsiteY34" fmla="*/ 83642 h 608067"/>
                <a:gd name="connsiteX35" fmla="*/ 422652 w 572724"/>
                <a:gd name="connsiteY35" fmla="*/ 80633 h 608067"/>
                <a:gd name="connsiteX36" fmla="*/ 412622 w 572724"/>
                <a:gd name="connsiteY36" fmla="*/ 80633 h 608067"/>
                <a:gd name="connsiteX37" fmla="*/ 397578 w 572724"/>
                <a:gd name="connsiteY37" fmla="*/ 77625 h 608067"/>
                <a:gd name="connsiteX38" fmla="*/ 384540 w 572724"/>
                <a:gd name="connsiteY38" fmla="*/ 76623 h 608067"/>
                <a:gd name="connsiteX39" fmla="*/ 372505 w 572724"/>
                <a:gd name="connsiteY39" fmla="*/ 76623 h 608067"/>
                <a:gd name="connsiteX40" fmla="*/ 357461 w 572724"/>
                <a:gd name="connsiteY40" fmla="*/ 77625 h 608067"/>
                <a:gd name="connsiteX41" fmla="*/ 350441 w 572724"/>
                <a:gd name="connsiteY41" fmla="*/ 80633 h 608067"/>
                <a:gd name="connsiteX42" fmla="*/ 347432 w 572724"/>
                <a:gd name="connsiteY42" fmla="*/ 82639 h 608067"/>
                <a:gd name="connsiteX43" fmla="*/ 374511 w 572724"/>
                <a:gd name="connsiteY43" fmla="*/ 85647 h 608067"/>
                <a:gd name="connsiteX44" fmla="*/ 374511 w 572724"/>
                <a:gd name="connsiteY44" fmla="*/ 84644 h 608067"/>
                <a:gd name="connsiteX45" fmla="*/ 451737 w 572724"/>
                <a:gd name="connsiteY45" fmla="*/ 115729 h 608067"/>
                <a:gd name="connsiteX46" fmla="*/ 507901 w 572724"/>
                <a:gd name="connsiteY46" fmla="*/ 175892 h 608067"/>
                <a:gd name="connsiteX47" fmla="*/ 528963 w 572724"/>
                <a:gd name="connsiteY47" fmla="*/ 228034 h 608067"/>
                <a:gd name="connsiteX48" fmla="*/ 531972 w 572724"/>
                <a:gd name="connsiteY48" fmla="*/ 288198 h 608067"/>
                <a:gd name="connsiteX49" fmla="*/ 524951 w 572724"/>
                <a:gd name="connsiteY49" fmla="*/ 357386 h 608067"/>
                <a:gd name="connsiteX50" fmla="*/ 513919 w 572724"/>
                <a:gd name="connsiteY50" fmla="*/ 420557 h 608067"/>
                <a:gd name="connsiteX51" fmla="*/ 503890 w 572724"/>
                <a:gd name="connsiteY51" fmla="*/ 441615 h 608067"/>
                <a:gd name="connsiteX52" fmla="*/ 477813 w 572724"/>
                <a:gd name="connsiteY52" fmla="*/ 489746 h 608067"/>
                <a:gd name="connsiteX53" fmla="*/ 434687 w 572724"/>
                <a:gd name="connsiteY53" fmla="*/ 527849 h 608067"/>
                <a:gd name="connsiteX54" fmla="*/ 436693 w 572724"/>
                <a:gd name="connsiteY54" fmla="*/ 526846 h 608067"/>
                <a:gd name="connsiteX55" fmla="*/ 385543 w 572724"/>
                <a:gd name="connsiteY55" fmla="*/ 545898 h 608067"/>
                <a:gd name="connsiteX56" fmla="*/ 381531 w 572724"/>
                <a:gd name="connsiteY56" fmla="*/ 547904 h 608067"/>
                <a:gd name="connsiteX57" fmla="*/ 361473 w 572724"/>
                <a:gd name="connsiteY57" fmla="*/ 550912 h 608067"/>
                <a:gd name="connsiteX58" fmla="*/ 320352 w 572724"/>
                <a:gd name="connsiteY58" fmla="*/ 556928 h 608067"/>
                <a:gd name="connsiteX59" fmla="*/ 254159 w 572724"/>
                <a:gd name="connsiteY59" fmla="*/ 553920 h 608067"/>
                <a:gd name="connsiteX60" fmla="*/ 247138 w 572724"/>
                <a:gd name="connsiteY60" fmla="*/ 552917 h 608067"/>
                <a:gd name="connsiteX61" fmla="*/ 184956 w 572724"/>
                <a:gd name="connsiteY61" fmla="*/ 529855 h 608067"/>
                <a:gd name="connsiteX62" fmla="*/ 133806 w 572724"/>
                <a:gd name="connsiteY62" fmla="*/ 500776 h 608067"/>
                <a:gd name="connsiteX63" fmla="*/ 112744 w 572724"/>
                <a:gd name="connsiteY63" fmla="*/ 490748 h 608067"/>
                <a:gd name="connsiteX64" fmla="*/ 100709 w 572724"/>
                <a:gd name="connsiteY64" fmla="*/ 480721 h 608067"/>
                <a:gd name="connsiteX65" fmla="*/ 87671 w 572724"/>
                <a:gd name="connsiteY65" fmla="*/ 464677 h 608067"/>
                <a:gd name="connsiteX66" fmla="*/ 64604 w 572724"/>
                <a:gd name="connsiteY66" fmla="*/ 425571 h 608067"/>
                <a:gd name="connsiteX67" fmla="*/ 56580 w 572724"/>
                <a:gd name="connsiteY67" fmla="*/ 407522 h 608067"/>
                <a:gd name="connsiteX68" fmla="*/ 55577 w 572724"/>
                <a:gd name="connsiteY68" fmla="*/ 395489 h 608067"/>
                <a:gd name="connsiteX69" fmla="*/ 51565 w 572724"/>
                <a:gd name="connsiteY69" fmla="*/ 369418 h 608067"/>
                <a:gd name="connsiteX70" fmla="*/ 47553 w 572724"/>
                <a:gd name="connsiteY70" fmla="*/ 347358 h 608067"/>
                <a:gd name="connsiteX71" fmla="*/ 43542 w 572724"/>
                <a:gd name="connsiteY71" fmla="*/ 325299 h 608067"/>
                <a:gd name="connsiteX72" fmla="*/ 43542 w 572724"/>
                <a:gd name="connsiteY72" fmla="*/ 328307 h 608067"/>
                <a:gd name="connsiteX73" fmla="*/ 48556 w 572724"/>
                <a:gd name="connsiteY73" fmla="*/ 280176 h 608067"/>
                <a:gd name="connsiteX74" fmla="*/ 61595 w 572724"/>
                <a:gd name="connsiteY74" fmla="*/ 205974 h 608067"/>
                <a:gd name="connsiteX75" fmla="*/ 89677 w 572724"/>
                <a:gd name="connsiteY75" fmla="*/ 139794 h 608067"/>
                <a:gd name="connsiteX76" fmla="*/ 82656 w 572724"/>
                <a:gd name="connsiteY76" fmla="*/ 147816 h 608067"/>
                <a:gd name="connsiteX77" fmla="*/ 132803 w 572724"/>
                <a:gd name="connsiteY77" fmla="*/ 87652 h 608067"/>
                <a:gd name="connsiteX78" fmla="*/ 143835 w 572724"/>
                <a:gd name="connsiteY78" fmla="*/ 81636 h 608067"/>
                <a:gd name="connsiteX79" fmla="*/ 151859 w 572724"/>
                <a:gd name="connsiteY79" fmla="*/ 74617 h 608067"/>
                <a:gd name="connsiteX80" fmla="*/ 153865 w 572724"/>
                <a:gd name="connsiteY80" fmla="*/ 75620 h 608067"/>
                <a:gd name="connsiteX81" fmla="*/ 171918 w 572724"/>
                <a:gd name="connsiteY81" fmla="*/ 64590 h 608067"/>
                <a:gd name="connsiteX82" fmla="*/ 176932 w 572724"/>
                <a:gd name="connsiteY82" fmla="*/ 60579 h 608067"/>
                <a:gd name="connsiteX83" fmla="*/ 184956 w 572724"/>
                <a:gd name="connsiteY83" fmla="*/ 58573 h 608067"/>
                <a:gd name="connsiteX84" fmla="*/ 184956 w 572724"/>
                <a:gd name="connsiteY84" fmla="*/ 58573 h 608067"/>
                <a:gd name="connsiteX85" fmla="*/ 189971 w 572724"/>
                <a:gd name="connsiteY85" fmla="*/ 56568 h 608067"/>
                <a:gd name="connsiteX86" fmla="*/ 206017 w 572724"/>
                <a:gd name="connsiteY86" fmla="*/ 45538 h 608067"/>
                <a:gd name="connsiteX87" fmla="*/ 223067 w 572724"/>
                <a:gd name="connsiteY87" fmla="*/ 35511 h 608067"/>
                <a:gd name="connsiteX88" fmla="*/ 225073 w 572724"/>
                <a:gd name="connsiteY88" fmla="*/ 35511 h 608067"/>
                <a:gd name="connsiteX89" fmla="*/ 228082 w 572724"/>
                <a:gd name="connsiteY89" fmla="*/ 32503 h 608067"/>
                <a:gd name="connsiteX90" fmla="*/ 234100 w 572724"/>
                <a:gd name="connsiteY90" fmla="*/ 31500 h 608067"/>
                <a:gd name="connsiteX91" fmla="*/ 233097 w 572724"/>
                <a:gd name="connsiteY91" fmla="*/ 31500 h 608067"/>
                <a:gd name="connsiteX92" fmla="*/ 239114 w 572724"/>
                <a:gd name="connsiteY92" fmla="*/ 30497 h 608067"/>
                <a:gd name="connsiteX93" fmla="*/ 240117 w 572724"/>
                <a:gd name="connsiteY93" fmla="*/ 32503 h 608067"/>
                <a:gd name="connsiteX94" fmla="*/ 250147 w 572724"/>
                <a:gd name="connsiteY94" fmla="*/ 30497 h 608067"/>
                <a:gd name="connsiteX95" fmla="*/ 219056 w 572724"/>
                <a:gd name="connsiteY95" fmla="*/ 31500 h 608067"/>
                <a:gd name="connsiteX96" fmla="*/ 234100 w 572724"/>
                <a:gd name="connsiteY96" fmla="*/ 27489 h 608067"/>
                <a:gd name="connsiteX97" fmla="*/ 245132 w 572724"/>
                <a:gd name="connsiteY97" fmla="*/ 27489 h 608067"/>
                <a:gd name="connsiteX98" fmla="*/ 258170 w 572724"/>
                <a:gd name="connsiteY98" fmla="*/ 27489 h 608067"/>
                <a:gd name="connsiteX99" fmla="*/ 265191 w 572724"/>
                <a:gd name="connsiteY99" fmla="*/ 25483 h 608067"/>
                <a:gd name="connsiteX100" fmla="*/ 273214 w 572724"/>
                <a:gd name="connsiteY100" fmla="*/ 26486 h 608067"/>
                <a:gd name="connsiteX101" fmla="*/ 261179 w 572724"/>
                <a:gd name="connsiteY101" fmla="*/ 27489 h 608067"/>
                <a:gd name="connsiteX102" fmla="*/ 266194 w 572724"/>
                <a:gd name="connsiteY102" fmla="*/ 28492 h 608067"/>
                <a:gd name="connsiteX103" fmla="*/ 273214 w 572724"/>
                <a:gd name="connsiteY103" fmla="*/ 28492 h 608067"/>
                <a:gd name="connsiteX104" fmla="*/ 287255 w 572724"/>
                <a:gd name="connsiteY104" fmla="*/ 28492 h 608067"/>
                <a:gd name="connsiteX105" fmla="*/ 293273 w 572724"/>
                <a:gd name="connsiteY105" fmla="*/ 31500 h 608067"/>
                <a:gd name="connsiteX106" fmla="*/ 297285 w 572724"/>
                <a:gd name="connsiteY106" fmla="*/ 30497 h 608067"/>
                <a:gd name="connsiteX107" fmla="*/ 289261 w 572724"/>
                <a:gd name="connsiteY107" fmla="*/ 25483 h 608067"/>
                <a:gd name="connsiteX108" fmla="*/ 300294 w 572724"/>
                <a:gd name="connsiteY108" fmla="*/ 27489 h 608067"/>
                <a:gd name="connsiteX109" fmla="*/ 300294 w 572724"/>
                <a:gd name="connsiteY109" fmla="*/ 25483 h 608067"/>
                <a:gd name="connsiteX110" fmla="*/ 310323 w 572724"/>
                <a:gd name="connsiteY110" fmla="*/ 27489 h 608067"/>
                <a:gd name="connsiteX111" fmla="*/ 307314 w 572724"/>
                <a:gd name="connsiteY111" fmla="*/ 26486 h 608067"/>
                <a:gd name="connsiteX112" fmla="*/ 296282 w 572724"/>
                <a:gd name="connsiteY112" fmla="*/ 28492 h 608067"/>
                <a:gd name="connsiteX113" fmla="*/ 286252 w 572724"/>
                <a:gd name="connsiteY113" fmla="*/ 30497 h 608067"/>
                <a:gd name="connsiteX114" fmla="*/ 299291 w 572724"/>
                <a:gd name="connsiteY114" fmla="*/ 27489 h 608067"/>
                <a:gd name="connsiteX115" fmla="*/ 311326 w 572724"/>
                <a:gd name="connsiteY115" fmla="*/ 26486 h 608067"/>
                <a:gd name="connsiteX116" fmla="*/ 311326 w 572724"/>
                <a:gd name="connsiteY116" fmla="*/ 23478 h 608067"/>
                <a:gd name="connsiteX117" fmla="*/ 307314 w 572724"/>
                <a:gd name="connsiteY117" fmla="*/ 24481 h 608067"/>
                <a:gd name="connsiteX118" fmla="*/ 303302 w 572724"/>
                <a:gd name="connsiteY118" fmla="*/ 20470 h 608067"/>
                <a:gd name="connsiteX119" fmla="*/ 296282 w 572724"/>
                <a:gd name="connsiteY119" fmla="*/ 23478 h 608067"/>
                <a:gd name="connsiteX120" fmla="*/ 288258 w 572724"/>
                <a:gd name="connsiteY120" fmla="*/ 25483 h 608067"/>
                <a:gd name="connsiteX121" fmla="*/ 286252 w 572724"/>
                <a:gd name="connsiteY121" fmla="*/ 24481 h 608067"/>
                <a:gd name="connsiteX122" fmla="*/ 298288 w 572724"/>
                <a:gd name="connsiteY122" fmla="*/ 25483 h 608067"/>
                <a:gd name="connsiteX123" fmla="*/ 305308 w 572724"/>
                <a:gd name="connsiteY123" fmla="*/ 24481 h 608067"/>
                <a:gd name="connsiteX124" fmla="*/ 306311 w 572724"/>
                <a:gd name="connsiteY124" fmla="*/ 24481 h 608067"/>
                <a:gd name="connsiteX125" fmla="*/ 312329 w 572724"/>
                <a:gd name="connsiteY125" fmla="*/ 23478 h 608067"/>
                <a:gd name="connsiteX126" fmla="*/ 310323 w 572724"/>
                <a:gd name="connsiteY126" fmla="*/ 16459 h 608067"/>
                <a:gd name="connsiteX127" fmla="*/ 309320 w 572724"/>
                <a:gd name="connsiteY127" fmla="*/ 9440 h 608067"/>
                <a:gd name="connsiteX128" fmla="*/ 298288 w 572724"/>
                <a:gd name="connsiteY128" fmla="*/ 10443 h 608067"/>
                <a:gd name="connsiteX129" fmla="*/ 288258 w 572724"/>
                <a:gd name="connsiteY129" fmla="*/ 6432 h 608067"/>
                <a:gd name="connsiteX130" fmla="*/ 284247 w 572724"/>
                <a:gd name="connsiteY130" fmla="*/ 7434 h 608067"/>
                <a:gd name="connsiteX131" fmla="*/ 277226 w 572724"/>
                <a:gd name="connsiteY131" fmla="*/ 4426 h 608067"/>
                <a:gd name="connsiteX132" fmla="*/ 266194 w 572724"/>
                <a:gd name="connsiteY132" fmla="*/ 4426 h 608067"/>
                <a:gd name="connsiteX133" fmla="*/ 263185 w 572724"/>
                <a:gd name="connsiteY133" fmla="*/ 6432 h 608067"/>
                <a:gd name="connsiteX134" fmla="*/ 243126 w 572724"/>
                <a:gd name="connsiteY134" fmla="*/ 7434 h 608067"/>
                <a:gd name="connsiteX135" fmla="*/ 239114 w 572724"/>
                <a:gd name="connsiteY135" fmla="*/ 2421 h 608067"/>
                <a:gd name="connsiteX136" fmla="*/ 246135 w 572724"/>
                <a:gd name="connsiteY136" fmla="*/ 4426 h 608067"/>
                <a:gd name="connsiteX137" fmla="*/ 256164 w 572724"/>
                <a:gd name="connsiteY137" fmla="*/ 415 h 608067"/>
                <a:gd name="connsiteX138" fmla="*/ 241120 w 572724"/>
                <a:gd name="connsiteY138" fmla="*/ 1418 h 608067"/>
                <a:gd name="connsiteX139" fmla="*/ 242123 w 572724"/>
                <a:gd name="connsiteY139" fmla="*/ 1418 h 608067"/>
                <a:gd name="connsiteX140" fmla="*/ 222064 w 572724"/>
                <a:gd name="connsiteY140" fmla="*/ 4426 h 608067"/>
                <a:gd name="connsiteX141" fmla="*/ 224070 w 572724"/>
                <a:gd name="connsiteY141" fmla="*/ 1418 h 608067"/>
                <a:gd name="connsiteX142" fmla="*/ 217050 w 572724"/>
                <a:gd name="connsiteY142" fmla="*/ 2421 h 608067"/>
                <a:gd name="connsiteX143" fmla="*/ 217050 w 572724"/>
                <a:gd name="connsiteY143" fmla="*/ 3424 h 608067"/>
                <a:gd name="connsiteX144" fmla="*/ 208023 w 572724"/>
                <a:gd name="connsiteY144" fmla="*/ 5429 h 608067"/>
                <a:gd name="connsiteX145" fmla="*/ 191976 w 572724"/>
                <a:gd name="connsiteY145" fmla="*/ 13451 h 608067"/>
                <a:gd name="connsiteX146" fmla="*/ 177935 w 572724"/>
                <a:gd name="connsiteY146" fmla="*/ 22475 h 608067"/>
                <a:gd name="connsiteX147" fmla="*/ 167906 w 572724"/>
                <a:gd name="connsiteY147" fmla="*/ 26486 h 608067"/>
                <a:gd name="connsiteX148" fmla="*/ 173924 w 572724"/>
                <a:gd name="connsiteY148" fmla="*/ 23478 h 608067"/>
                <a:gd name="connsiteX149" fmla="*/ 186962 w 572724"/>
                <a:gd name="connsiteY149" fmla="*/ 15456 h 608067"/>
                <a:gd name="connsiteX150" fmla="*/ 200000 w 572724"/>
                <a:gd name="connsiteY150" fmla="*/ 8437 h 608067"/>
                <a:gd name="connsiteX151" fmla="*/ 203009 w 572724"/>
                <a:gd name="connsiteY151" fmla="*/ 6432 h 608067"/>
                <a:gd name="connsiteX152" fmla="*/ 192979 w 572724"/>
                <a:gd name="connsiteY152" fmla="*/ 10443 h 608067"/>
                <a:gd name="connsiteX153" fmla="*/ 175929 w 572724"/>
                <a:gd name="connsiteY153" fmla="*/ 19467 h 608067"/>
                <a:gd name="connsiteX154" fmla="*/ 159883 w 572724"/>
                <a:gd name="connsiteY154" fmla="*/ 29494 h 608067"/>
                <a:gd name="connsiteX155" fmla="*/ 151859 w 572724"/>
                <a:gd name="connsiteY155" fmla="*/ 34508 h 608067"/>
                <a:gd name="connsiteX156" fmla="*/ 146844 w 572724"/>
                <a:gd name="connsiteY156" fmla="*/ 39522 h 608067"/>
                <a:gd name="connsiteX157" fmla="*/ 142832 w 572724"/>
                <a:gd name="connsiteY157" fmla="*/ 38519 h 608067"/>
                <a:gd name="connsiteX158" fmla="*/ 141829 w 572724"/>
                <a:gd name="connsiteY158" fmla="*/ 39522 h 608067"/>
                <a:gd name="connsiteX159" fmla="*/ 137818 w 572724"/>
                <a:gd name="connsiteY159" fmla="*/ 40524 h 608067"/>
                <a:gd name="connsiteX160" fmla="*/ 124780 w 572724"/>
                <a:gd name="connsiteY160" fmla="*/ 50552 h 608067"/>
                <a:gd name="connsiteX161" fmla="*/ 112744 w 572724"/>
                <a:gd name="connsiteY161" fmla="*/ 62584 h 608067"/>
                <a:gd name="connsiteX162" fmla="*/ 118762 w 572724"/>
                <a:gd name="connsiteY162" fmla="*/ 50552 h 608067"/>
                <a:gd name="connsiteX163" fmla="*/ 119765 w 572724"/>
                <a:gd name="connsiteY163" fmla="*/ 50552 h 608067"/>
                <a:gd name="connsiteX164" fmla="*/ 122774 w 572724"/>
                <a:gd name="connsiteY164" fmla="*/ 45538 h 608067"/>
                <a:gd name="connsiteX165" fmla="*/ 109736 w 572724"/>
                <a:gd name="connsiteY165" fmla="*/ 57571 h 608067"/>
                <a:gd name="connsiteX166" fmla="*/ 106727 w 572724"/>
                <a:gd name="connsiteY166" fmla="*/ 59576 h 608067"/>
                <a:gd name="connsiteX167" fmla="*/ 106727 w 572724"/>
                <a:gd name="connsiteY167" fmla="*/ 59576 h 608067"/>
                <a:gd name="connsiteX168" fmla="*/ 104721 w 572724"/>
                <a:gd name="connsiteY168" fmla="*/ 59576 h 608067"/>
                <a:gd name="connsiteX169" fmla="*/ 104721 w 572724"/>
                <a:gd name="connsiteY169" fmla="*/ 58573 h 608067"/>
                <a:gd name="connsiteX170" fmla="*/ 93689 w 572724"/>
                <a:gd name="connsiteY170" fmla="*/ 68601 h 608067"/>
                <a:gd name="connsiteX171" fmla="*/ 80650 w 572724"/>
                <a:gd name="connsiteY171" fmla="*/ 84644 h 608067"/>
                <a:gd name="connsiteX172" fmla="*/ 78645 w 572724"/>
                <a:gd name="connsiteY172" fmla="*/ 88655 h 608067"/>
                <a:gd name="connsiteX173" fmla="*/ 58586 w 572724"/>
                <a:gd name="connsiteY173" fmla="*/ 112721 h 608067"/>
                <a:gd name="connsiteX174" fmla="*/ 61595 w 572724"/>
                <a:gd name="connsiteY174" fmla="*/ 113723 h 608067"/>
                <a:gd name="connsiteX175" fmla="*/ 56580 w 572724"/>
                <a:gd name="connsiteY175" fmla="*/ 121745 h 608067"/>
                <a:gd name="connsiteX176" fmla="*/ 51565 w 572724"/>
                <a:gd name="connsiteY176" fmla="*/ 123751 h 608067"/>
                <a:gd name="connsiteX177" fmla="*/ 46550 w 572724"/>
                <a:gd name="connsiteY177" fmla="*/ 124753 h 608067"/>
                <a:gd name="connsiteX178" fmla="*/ 40533 w 572724"/>
                <a:gd name="connsiteY178" fmla="*/ 136786 h 608067"/>
                <a:gd name="connsiteX179" fmla="*/ 39530 w 572724"/>
                <a:gd name="connsiteY179" fmla="*/ 144808 h 608067"/>
                <a:gd name="connsiteX180" fmla="*/ 31506 w 572724"/>
                <a:gd name="connsiteY180" fmla="*/ 156841 h 608067"/>
                <a:gd name="connsiteX181" fmla="*/ 29501 w 572724"/>
                <a:gd name="connsiteY181" fmla="*/ 154835 h 608067"/>
                <a:gd name="connsiteX182" fmla="*/ 19471 w 572724"/>
                <a:gd name="connsiteY182" fmla="*/ 173887 h 608067"/>
                <a:gd name="connsiteX183" fmla="*/ 16462 w 572724"/>
                <a:gd name="connsiteY183" fmla="*/ 194944 h 608067"/>
                <a:gd name="connsiteX184" fmla="*/ 17465 w 572724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4" h="608067">
                  <a:moveTo>
                    <a:pt x="17465" y="206977"/>
                  </a:moveTo>
                  <a:lnTo>
                    <a:pt x="15459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1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7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59" y="409528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4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2" y="607064"/>
                  </a:cubicBezTo>
                  <a:cubicBezTo>
                    <a:pt x="371502" y="606062"/>
                    <a:pt x="378523" y="606062"/>
                    <a:pt x="385543" y="604056"/>
                  </a:cubicBezTo>
                  <a:cubicBezTo>
                    <a:pt x="373508" y="606062"/>
                    <a:pt x="373508" y="605059"/>
                    <a:pt x="362476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3" y="579991"/>
                    <a:pt x="430675" y="578988"/>
                    <a:pt x="434687" y="576983"/>
                  </a:cubicBezTo>
                  <a:cubicBezTo>
                    <a:pt x="444717" y="569964"/>
                    <a:pt x="467784" y="555925"/>
                    <a:pt x="476810" y="546901"/>
                  </a:cubicBezTo>
                  <a:cubicBezTo>
                    <a:pt x="475808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2" y="498770"/>
                  </a:cubicBezTo>
                  <a:cubicBezTo>
                    <a:pt x="530969" y="483729"/>
                    <a:pt x="537990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4" y="419555"/>
                  </a:cubicBezTo>
                  <a:cubicBezTo>
                    <a:pt x="555040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7" y="319282"/>
                    <a:pt x="575098" y="283184"/>
                    <a:pt x="571087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1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9" y="76623"/>
                    <a:pt x="376517" y="76623"/>
                    <a:pt x="372505" y="76623"/>
                  </a:cubicBezTo>
                  <a:cubicBezTo>
                    <a:pt x="368493" y="76623"/>
                    <a:pt x="363479" y="76623"/>
                    <a:pt x="357461" y="77625"/>
                  </a:cubicBezTo>
                  <a:cubicBezTo>
                    <a:pt x="360470" y="78628"/>
                    <a:pt x="355455" y="79631"/>
                    <a:pt x="350441" y="80633"/>
                  </a:cubicBezTo>
                  <a:cubicBezTo>
                    <a:pt x="346429" y="81636"/>
                    <a:pt x="341414" y="82639"/>
                    <a:pt x="347432" y="82639"/>
                  </a:cubicBezTo>
                  <a:cubicBezTo>
                    <a:pt x="361473" y="85647"/>
                    <a:pt x="362476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5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2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9" y="546901"/>
                    <a:pt x="372505" y="548906"/>
                    <a:pt x="361473" y="550912"/>
                  </a:cubicBezTo>
                  <a:cubicBezTo>
                    <a:pt x="350441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9" y="553920"/>
                  </a:cubicBezTo>
                  <a:cubicBezTo>
                    <a:pt x="252153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3" y="462672"/>
                    <a:pt x="84662" y="454650"/>
                    <a:pt x="87671" y="464677"/>
                  </a:cubicBezTo>
                  <a:cubicBezTo>
                    <a:pt x="76639" y="452645"/>
                    <a:pt x="69618" y="438607"/>
                    <a:pt x="64604" y="425571"/>
                  </a:cubicBezTo>
                  <a:cubicBezTo>
                    <a:pt x="61595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8"/>
                  </a:cubicBezTo>
                  <a:cubicBezTo>
                    <a:pt x="45547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5" y="205974"/>
                  </a:cubicBezTo>
                  <a:cubicBezTo>
                    <a:pt x="67612" y="181909"/>
                    <a:pt x="77642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2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3" y="68601"/>
                    <a:pt x="165900" y="70606"/>
                    <a:pt x="171918" y="64590"/>
                  </a:cubicBezTo>
                  <a:cubicBezTo>
                    <a:pt x="171918" y="63587"/>
                    <a:pt x="173924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2" y="57571"/>
                    <a:pt x="187965" y="57571"/>
                    <a:pt x="189971" y="56568"/>
                  </a:cubicBezTo>
                  <a:cubicBezTo>
                    <a:pt x="190973" y="55565"/>
                    <a:pt x="197994" y="49549"/>
                    <a:pt x="206017" y="45538"/>
                  </a:cubicBezTo>
                  <a:cubicBezTo>
                    <a:pt x="213038" y="40524"/>
                    <a:pt x="221061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9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7" y="27489"/>
                    <a:pt x="270206" y="25483"/>
                    <a:pt x="273214" y="26486"/>
                  </a:cubicBezTo>
                  <a:cubicBezTo>
                    <a:pt x="269203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3" y="28492"/>
                    <a:pt x="272211" y="28492"/>
                    <a:pt x="273214" y="28492"/>
                  </a:cubicBezTo>
                  <a:cubicBezTo>
                    <a:pt x="274217" y="27489"/>
                    <a:pt x="282241" y="28492"/>
                    <a:pt x="287255" y="28492"/>
                  </a:cubicBezTo>
                  <a:cubicBezTo>
                    <a:pt x="285250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50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4" y="31500"/>
                    <a:pt x="286252" y="30497"/>
                  </a:cubicBezTo>
                  <a:cubicBezTo>
                    <a:pt x="285250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6" y="22475"/>
                    <a:pt x="296282" y="23478"/>
                  </a:cubicBezTo>
                  <a:cubicBezTo>
                    <a:pt x="291267" y="24481"/>
                    <a:pt x="285250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0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4" y="6432"/>
                    <a:pt x="285250" y="7434"/>
                    <a:pt x="284247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5" y="6432"/>
                    <a:pt x="246135" y="4426"/>
                  </a:cubicBezTo>
                  <a:cubicBezTo>
                    <a:pt x="241120" y="2421"/>
                    <a:pt x="255162" y="2421"/>
                    <a:pt x="256164" y="415"/>
                  </a:cubicBezTo>
                  <a:cubicBezTo>
                    <a:pt x="253156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1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4" y="24481"/>
                    <a:pt x="171918" y="23478"/>
                    <a:pt x="167906" y="26486"/>
                  </a:cubicBezTo>
                  <a:cubicBezTo>
                    <a:pt x="167906" y="26486"/>
                    <a:pt x="169912" y="25483"/>
                    <a:pt x="173924" y="23478"/>
                  </a:cubicBezTo>
                  <a:cubicBezTo>
                    <a:pt x="177935" y="21473"/>
                    <a:pt x="181947" y="18464"/>
                    <a:pt x="186962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5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3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6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9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5" y="87652"/>
                    <a:pt x="80650" y="85647"/>
                    <a:pt x="78645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5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3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8468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18CE61A2-D431-9A4C-8373-1E05182494CA}"/>
              </a:ext>
            </a:extLst>
          </p:cNvPr>
          <p:cNvGrpSpPr/>
          <p:nvPr userDrawn="1"/>
        </p:nvGrpSpPr>
        <p:grpSpPr>
          <a:xfrm>
            <a:off x="1963014" y="7039209"/>
            <a:ext cx="859085" cy="1204304"/>
            <a:chOff x="3696530" y="4107267"/>
            <a:chExt cx="572723" cy="802869"/>
          </a:xfrm>
        </p:grpSpPr>
        <p:sp>
          <p:nvSpPr>
            <p:cNvPr id="15" name="Tekstfelt 14">
              <a:extLst>
                <a:ext uri="{FF2B5EF4-FFF2-40B4-BE49-F238E27FC236}">
                  <a16:creationId xmlns:a16="http://schemas.microsoft.com/office/drawing/2014/main" id="{F99AFC48-91AC-5F4D-B792-9F3BC4563246}"/>
                </a:ext>
              </a:extLst>
            </p:cNvPr>
            <p:cNvSpPr txBox="1"/>
            <p:nvPr/>
          </p:nvSpPr>
          <p:spPr>
            <a:xfrm>
              <a:off x="3776318" y="4107267"/>
              <a:ext cx="436231" cy="8028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da-DK" sz="7226" spc="0" baseline="0">
                  <a:solidFill>
                    <a:srgbClr val="154573"/>
                  </a:solidFill>
                  <a:latin typeface="Manus"/>
                  <a:sym typeface="Manus"/>
                  <a:rtl val="0"/>
                </a:rPr>
                <a:t>4</a:t>
              </a:r>
            </a:p>
          </p:txBody>
        </p:sp>
        <p:sp>
          <p:nvSpPr>
            <p:cNvPr id="21" name="Kombinationstegning 20">
              <a:extLst>
                <a:ext uri="{FF2B5EF4-FFF2-40B4-BE49-F238E27FC236}">
                  <a16:creationId xmlns:a16="http://schemas.microsoft.com/office/drawing/2014/main" id="{37E26D19-BA0B-7B4A-98E7-0A65C7D39993}"/>
                </a:ext>
              </a:extLst>
            </p:cNvPr>
            <p:cNvSpPr/>
            <p:nvPr/>
          </p:nvSpPr>
          <p:spPr>
            <a:xfrm>
              <a:off x="3696530" y="4164662"/>
              <a:ext cx="572723" cy="608067"/>
            </a:xfrm>
            <a:custGeom>
              <a:avLst/>
              <a:gdLst>
                <a:gd name="connsiteX0" fmla="*/ 17465 w 572723"/>
                <a:gd name="connsiteY0" fmla="*/ 206977 h 608067"/>
                <a:gd name="connsiteX1" fmla="*/ 15460 w 572723"/>
                <a:gd name="connsiteY1" fmla="*/ 213996 h 608067"/>
                <a:gd name="connsiteX2" fmla="*/ 40533 w 572723"/>
                <a:gd name="connsiteY2" fmla="*/ 142802 h 608067"/>
                <a:gd name="connsiteX3" fmla="*/ 6433 w 572723"/>
                <a:gd name="connsiteY3" fmla="*/ 223020 h 608067"/>
                <a:gd name="connsiteX4" fmla="*/ 8439 w 572723"/>
                <a:gd name="connsiteY4" fmla="*/ 300230 h 608067"/>
                <a:gd name="connsiteX5" fmla="*/ 415 w 572723"/>
                <a:gd name="connsiteY5" fmla="*/ 331315 h 608067"/>
                <a:gd name="connsiteX6" fmla="*/ 1418 w 572723"/>
                <a:gd name="connsiteY6" fmla="*/ 359391 h 608067"/>
                <a:gd name="connsiteX7" fmla="*/ 10445 w 572723"/>
                <a:gd name="connsiteY7" fmla="*/ 392481 h 608067"/>
                <a:gd name="connsiteX8" fmla="*/ 4427 w 572723"/>
                <a:gd name="connsiteY8" fmla="*/ 369418 h 608067"/>
                <a:gd name="connsiteX9" fmla="*/ 10445 w 572723"/>
                <a:gd name="connsiteY9" fmla="*/ 392481 h 608067"/>
                <a:gd name="connsiteX10" fmla="*/ 29501 w 572723"/>
                <a:gd name="connsiteY10" fmla="*/ 445626 h 608067"/>
                <a:gd name="connsiteX11" fmla="*/ 60592 w 572723"/>
                <a:gd name="connsiteY11" fmla="*/ 496765 h 608067"/>
                <a:gd name="connsiteX12" fmla="*/ 156873 w 572723"/>
                <a:gd name="connsiteY12" fmla="*/ 569964 h 608067"/>
                <a:gd name="connsiteX13" fmla="*/ 257167 w 572723"/>
                <a:gd name="connsiteY13" fmla="*/ 601048 h 608067"/>
                <a:gd name="connsiteX14" fmla="*/ 317343 w 572723"/>
                <a:gd name="connsiteY14" fmla="*/ 608067 h 608067"/>
                <a:gd name="connsiteX15" fmla="*/ 364481 w 572723"/>
                <a:gd name="connsiteY15" fmla="*/ 607064 h 608067"/>
                <a:gd name="connsiteX16" fmla="*/ 385543 w 572723"/>
                <a:gd name="connsiteY16" fmla="*/ 604056 h 608067"/>
                <a:gd name="connsiteX17" fmla="*/ 362475 w 572723"/>
                <a:gd name="connsiteY17" fmla="*/ 606062 h 608067"/>
                <a:gd name="connsiteX18" fmla="*/ 438699 w 572723"/>
                <a:gd name="connsiteY18" fmla="*/ 578988 h 608067"/>
                <a:gd name="connsiteX19" fmla="*/ 422652 w 572723"/>
                <a:gd name="connsiteY19" fmla="*/ 580994 h 608067"/>
                <a:gd name="connsiteX20" fmla="*/ 434687 w 572723"/>
                <a:gd name="connsiteY20" fmla="*/ 576983 h 608067"/>
                <a:gd name="connsiteX21" fmla="*/ 476810 w 572723"/>
                <a:gd name="connsiteY21" fmla="*/ 546901 h 608067"/>
                <a:gd name="connsiteX22" fmla="*/ 490852 w 572723"/>
                <a:gd name="connsiteY22" fmla="*/ 537876 h 608067"/>
                <a:gd name="connsiteX23" fmla="*/ 487843 w 572723"/>
                <a:gd name="connsiteY23" fmla="*/ 538879 h 608067"/>
                <a:gd name="connsiteX24" fmla="*/ 521943 w 572723"/>
                <a:gd name="connsiteY24" fmla="*/ 498770 h 608067"/>
                <a:gd name="connsiteX25" fmla="*/ 543004 w 572723"/>
                <a:gd name="connsiteY25" fmla="*/ 454650 h 608067"/>
                <a:gd name="connsiteX26" fmla="*/ 547016 w 572723"/>
                <a:gd name="connsiteY26" fmla="*/ 446628 h 608067"/>
                <a:gd name="connsiteX27" fmla="*/ 553033 w 572723"/>
                <a:gd name="connsiteY27" fmla="*/ 419555 h 608067"/>
                <a:gd name="connsiteX28" fmla="*/ 559051 w 572723"/>
                <a:gd name="connsiteY28" fmla="*/ 411533 h 608067"/>
                <a:gd name="connsiteX29" fmla="*/ 566072 w 572723"/>
                <a:gd name="connsiteY29" fmla="*/ 352372 h 608067"/>
                <a:gd name="connsiteX30" fmla="*/ 571086 w 572723"/>
                <a:gd name="connsiteY30" fmla="*/ 246083 h 608067"/>
                <a:gd name="connsiteX31" fmla="*/ 528963 w 572723"/>
                <a:gd name="connsiteY31" fmla="*/ 144808 h 608067"/>
                <a:gd name="connsiteX32" fmla="*/ 528963 w 572723"/>
                <a:gd name="connsiteY32" fmla="*/ 146813 h 608067"/>
                <a:gd name="connsiteX33" fmla="*/ 469790 w 572723"/>
                <a:gd name="connsiteY33" fmla="*/ 96677 h 608067"/>
                <a:gd name="connsiteX34" fmla="*/ 437696 w 572723"/>
                <a:gd name="connsiteY34" fmla="*/ 83642 h 608067"/>
                <a:gd name="connsiteX35" fmla="*/ 422652 w 572723"/>
                <a:gd name="connsiteY35" fmla="*/ 80633 h 608067"/>
                <a:gd name="connsiteX36" fmla="*/ 412622 w 572723"/>
                <a:gd name="connsiteY36" fmla="*/ 80633 h 608067"/>
                <a:gd name="connsiteX37" fmla="*/ 397578 w 572723"/>
                <a:gd name="connsiteY37" fmla="*/ 77625 h 608067"/>
                <a:gd name="connsiteX38" fmla="*/ 384540 w 572723"/>
                <a:gd name="connsiteY38" fmla="*/ 76623 h 608067"/>
                <a:gd name="connsiteX39" fmla="*/ 372505 w 572723"/>
                <a:gd name="connsiteY39" fmla="*/ 76623 h 608067"/>
                <a:gd name="connsiteX40" fmla="*/ 357461 w 572723"/>
                <a:gd name="connsiteY40" fmla="*/ 77625 h 608067"/>
                <a:gd name="connsiteX41" fmla="*/ 350440 w 572723"/>
                <a:gd name="connsiteY41" fmla="*/ 80633 h 608067"/>
                <a:gd name="connsiteX42" fmla="*/ 347431 w 572723"/>
                <a:gd name="connsiteY42" fmla="*/ 82639 h 608067"/>
                <a:gd name="connsiteX43" fmla="*/ 374511 w 572723"/>
                <a:gd name="connsiteY43" fmla="*/ 85647 h 608067"/>
                <a:gd name="connsiteX44" fmla="*/ 374511 w 572723"/>
                <a:gd name="connsiteY44" fmla="*/ 84644 h 608067"/>
                <a:gd name="connsiteX45" fmla="*/ 451737 w 572723"/>
                <a:gd name="connsiteY45" fmla="*/ 115729 h 608067"/>
                <a:gd name="connsiteX46" fmla="*/ 507901 w 572723"/>
                <a:gd name="connsiteY46" fmla="*/ 175892 h 608067"/>
                <a:gd name="connsiteX47" fmla="*/ 528963 w 572723"/>
                <a:gd name="connsiteY47" fmla="*/ 228034 h 608067"/>
                <a:gd name="connsiteX48" fmla="*/ 531972 w 572723"/>
                <a:gd name="connsiteY48" fmla="*/ 288198 h 608067"/>
                <a:gd name="connsiteX49" fmla="*/ 524951 w 572723"/>
                <a:gd name="connsiteY49" fmla="*/ 357386 h 608067"/>
                <a:gd name="connsiteX50" fmla="*/ 513919 w 572723"/>
                <a:gd name="connsiteY50" fmla="*/ 420557 h 608067"/>
                <a:gd name="connsiteX51" fmla="*/ 503890 w 572723"/>
                <a:gd name="connsiteY51" fmla="*/ 441615 h 608067"/>
                <a:gd name="connsiteX52" fmla="*/ 477813 w 572723"/>
                <a:gd name="connsiteY52" fmla="*/ 489746 h 608067"/>
                <a:gd name="connsiteX53" fmla="*/ 434687 w 572723"/>
                <a:gd name="connsiteY53" fmla="*/ 527849 h 608067"/>
                <a:gd name="connsiteX54" fmla="*/ 436693 w 572723"/>
                <a:gd name="connsiteY54" fmla="*/ 526846 h 608067"/>
                <a:gd name="connsiteX55" fmla="*/ 385543 w 572723"/>
                <a:gd name="connsiteY55" fmla="*/ 545898 h 608067"/>
                <a:gd name="connsiteX56" fmla="*/ 381531 w 572723"/>
                <a:gd name="connsiteY56" fmla="*/ 547904 h 608067"/>
                <a:gd name="connsiteX57" fmla="*/ 361473 w 572723"/>
                <a:gd name="connsiteY57" fmla="*/ 550912 h 608067"/>
                <a:gd name="connsiteX58" fmla="*/ 320352 w 572723"/>
                <a:gd name="connsiteY58" fmla="*/ 556928 h 608067"/>
                <a:gd name="connsiteX59" fmla="*/ 254158 w 572723"/>
                <a:gd name="connsiteY59" fmla="*/ 553920 h 608067"/>
                <a:gd name="connsiteX60" fmla="*/ 247138 w 572723"/>
                <a:gd name="connsiteY60" fmla="*/ 552917 h 608067"/>
                <a:gd name="connsiteX61" fmla="*/ 184956 w 572723"/>
                <a:gd name="connsiteY61" fmla="*/ 529855 h 608067"/>
                <a:gd name="connsiteX62" fmla="*/ 133806 w 572723"/>
                <a:gd name="connsiteY62" fmla="*/ 500776 h 608067"/>
                <a:gd name="connsiteX63" fmla="*/ 112744 w 572723"/>
                <a:gd name="connsiteY63" fmla="*/ 490748 h 608067"/>
                <a:gd name="connsiteX64" fmla="*/ 100709 w 572723"/>
                <a:gd name="connsiteY64" fmla="*/ 480721 h 608067"/>
                <a:gd name="connsiteX65" fmla="*/ 87671 w 572723"/>
                <a:gd name="connsiteY65" fmla="*/ 464677 h 608067"/>
                <a:gd name="connsiteX66" fmla="*/ 64603 w 572723"/>
                <a:gd name="connsiteY66" fmla="*/ 425571 h 608067"/>
                <a:gd name="connsiteX67" fmla="*/ 56580 w 572723"/>
                <a:gd name="connsiteY67" fmla="*/ 407522 h 608067"/>
                <a:gd name="connsiteX68" fmla="*/ 55577 w 572723"/>
                <a:gd name="connsiteY68" fmla="*/ 395489 h 608067"/>
                <a:gd name="connsiteX69" fmla="*/ 51565 w 572723"/>
                <a:gd name="connsiteY69" fmla="*/ 369418 h 608067"/>
                <a:gd name="connsiteX70" fmla="*/ 47553 w 572723"/>
                <a:gd name="connsiteY70" fmla="*/ 347359 h 608067"/>
                <a:gd name="connsiteX71" fmla="*/ 43542 w 572723"/>
                <a:gd name="connsiteY71" fmla="*/ 325299 h 608067"/>
                <a:gd name="connsiteX72" fmla="*/ 43542 w 572723"/>
                <a:gd name="connsiteY72" fmla="*/ 328307 h 608067"/>
                <a:gd name="connsiteX73" fmla="*/ 48556 w 572723"/>
                <a:gd name="connsiteY73" fmla="*/ 280176 h 608067"/>
                <a:gd name="connsiteX74" fmla="*/ 61594 w 572723"/>
                <a:gd name="connsiteY74" fmla="*/ 205974 h 608067"/>
                <a:gd name="connsiteX75" fmla="*/ 89677 w 572723"/>
                <a:gd name="connsiteY75" fmla="*/ 139794 h 608067"/>
                <a:gd name="connsiteX76" fmla="*/ 82656 w 572723"/>
                <a:gd name="connsiteY76" fmla="*/ 147816 h 608067"/>
                <a:gd name="connsiteX77" fmla="*/ 132803 w 572723"/>
                <a:gd name="connsiteY77" fmla="*/ 87653 h 608067"/>
                <a:gd name="connsiteX78" fmla="*/ 143835 w 572723"/>
                <a:gd name="connsiteY78" fmla="*/ 81636 h 608067"/>
                <a:gd name="connsiteX79" fmla="*/ 151859 w 572723"/>
                <a:gd name="connsiteY79" fmla="*/ 74617 h 608067"/>
                <a:gd name="connsiteX80" fmla="*/ 153865 w 572723"/>
                <a:gd name="connsiteY80" fmla="*/ 75620 h 608067"/>
                <a:gd name="connsiteX81" fmla="*/ 171917 w 572723"/>
                <a:gd name="connsiteY81" fmla="*/ 64590 h 608067"/>
                <a:gd name="connsiteX82" fmla="*/ 176932 w 572723"/>
                <a:gd name="connsiteY82" fmla="*/ 60579 h 608067"/>
                <a:gd name="connsiteX83" fmla="*/ 184956 w 572723"/>
                <a:gd name="connsiteY83" fmla="*/ 58573 h 608067"/>
                <a:gd name="connsiteX84" fmla="*/ 184956 w 572723"/>
                <a:gd name="connsiteY84" fmla="*/ 58573 h 608067"/>
                <a:gd name="connsiteX85" fmla="*/ 189970 w 572723"/>
                <a:gd name="connsiteY85" fmla="*/ 56568 h 608067"/>
                <a:gd name="connsiteX86" fmla="*/ 206018 w 572723"/>
                <a:gd name="connsiteY86" fmla="*/ 45538 h 608067"/>
                <a:gd name="connsiteX87" fmla="*/ 223067 w 572723"/>
                <a:gd name="connsiteY87" fmla="*/ 35511 h 608067"/>
                <a:gd name="connsiteX88" fmla="*/ 225073 w 572723"/>
                <a:gd name="connsiteY88" fmla="*/ 35511 h 608067"/>
                <a:gd name="connsiteX89" fmla="*/ 228082 w 572723"/>
                <a:gd name="connsiteY89" fmla="*/ 32503 h 608067"/>
                <a:gd name="connsiteX90" fmla="*/ 234100 w 572723"/>
                <a:gd name="connsiteY90" fmla="*/ 31500 h 608067"/>
                <a:gd name="connsiteX91" fmla="*/ 233097 w 572723"/>
                <a:gd name="connsiteY91" fmla="*/ 31500 h 608067"/>
                <a:gd name="connsiteX92" fmla="*/ 239114 w 572723"/>
                <a:gd name="connsiteY92" fmla="*/ 30497 h 608067"/>
                <a:gd name="connsiteX93" fmla="*/ 240117 w 572723"/>
                <a:gd name="connsiteY93" fmla="*/ 32503 h 608067"/>
                <a:gd name="connsiteX94" fmla="*/ 250147 w 572723"/>
                <a:gd name="connsiteY94" fmla="*/ 30497 h 608067"/>
                <a:gd name="connsiteX95" fmla="*/ 219056 w 572723"/>
                <a:gd name="connsiteY95" fmla="*/ 31500 h 608067"/>
                <a:gd name="connsiteX96" fmla="*/ 234100 w 572723"/>
                <a:gd name="connsiteY96" fmla="*/ 27489 h 608067"/>
                <a:gd name="connsiteX97" fmla="*/ 245132 w 572723"/>
                <a:gd name="connsiteY97" fmla="*/ 27489 h 608067"/>
                <a:gd name="connsiteX98" fmla="*/ 258170 w 572723"/>
                <a:gd name="connsiteY98" fmla="*/ 27489 h 608067"/>
                <a:gd name="connsiteX99" fmla="*/ 265191 w 572723"/>
                <a:gd name="connsiteY99" fmla="*/ 25483 h 608067"/>
                <a:gd name="connsiteX100" fmla="*/ 273214 w 572723"/>
                <a:gd name="connsiteY100" fmla="*/ 26486 h 608067"/>
                <a:gd name="connsiteX101" fmla="*/ 261179 w 572723"/>
                <a:gd name="connsiteY101" fmla="*/ 27489 h 608067"/>
                <a:gd name="connsiteX102" fmla="*/ 266194 w 572723"/>
                <a:gd name="connsiteY102" fmla="*/ 28492 h 608067"/>
                <a:gd name="connsiteX103" fmla="*/ 273214 w 572723"/>
                <a:gd name="connsiteY103" fmla="*/ 28492 h 608067"/>
                <a:gd name="connsiteX104" fmla="*/ 287255 w 572723"/>
                <a:gd name="connsiteY104" fmla="*/ 28492 h 608067"/>
                <a:gd name="connsiteX105" fmla="*/ 293273 w 572723"/>
                <a:gd name="connsiteY105" fmla="*/ 31500 h 608067"/>
                <a:gd name="connsiteX106" fmla="*/ 297285 w 572723"/>
                <a:gd name="connsiteY106" fmla="*/ 30497 h 608067"/>
                <a:gd name="connsiteX107" fmla="*/ 289261 w 572723"/>
                <a:gd name="connsiteY107" fmla="*/ 25483 h 608067"/>
                <a:gd name="connsiteX108" fmla="*/ 300294 w 572723"/>
                <a:gd name="connsiteY108" fmla="*/ 27489 h 608067"/>
                <a:gd name="connsiteX109" fmla="*/ 300294 w 572723"/>
                <a:gd name="connsiteY109" fmla="*/ 25483 h 608067"/>
                <a:gd name="connsiteX110" fmla="*/ 310323 w 572723"/>
                <a:gd name="connsiteY110" fmla="*/ 27489 h 608067"/>
                <a:gd name="connsiteX111" fmla="*/ 307314 w 572723"/>
                <a:gd name="connsiteY111" fmla="*/ 26486 h 608067"/>
                <a:gd name="connsiteX112" fmla="*/ 296282 w 572723"/>
                <a:gd name="connsiteY112" fmla="*/ 28492 h 608067"/>
                <a:gd name="connsiteX113" fmla="*/ 286252 w 572723"/>
                <a:gd name="connsiteY113" fmla="*/ 30497 h 608067"/>
                <a:gd name="connsiteX114" fmla="*/ 299291 w 572723"/>
                <a:gd name="connsiteY114" fmla="*/ 27489 h 608067"/>
                <a:gd name="connsiteX115" fmla="*/ 311326 w 572723"/>
                <a:gd name="connsiteY115" fmla="*/ 26486 h 608067"/>
                <a:gd name="connsiteX116" fmla="*/ 311326 w 572723"/>
                <a:gd name="connsiteY116" fmla="*/ 23478 h 608067"/>
                <a:gd name="connsiteX117" fmla="*/ 307314 w 572723"/>
                <a:gd name="connsiteY117" fmla="*/ 24481 h 608067"/>
                <a:gd name="connsiteX118" fmla="*/ 303302 w 572723"/>
                <a:gd name="connsiteY118" fmla="*/ 20470 h 608067"/>
                <a:gd name="connsiteX119" fmla="*/ 296282 w 572723"/>
                <a:gd name="connsiteY119" fmla="*/ 23478 h 608067"/>
                <a:gd name="connsiteX120" fmla="*/ 288258 w 572723"/>
                <a:gd name="connsiteY120" fmla="*/ 25483 h 608067"/>
                <a:gd name="connsiteX121" fmla="*/ 286252 w 572723"/>
                <a:gd name="connsiteY121" fmla="*/ 24481 h 608067"/>
                <a:gd name="connsiteX122" fmla="*/ 298288 w 572723"/>
                <a:gd name="connsiteY122" fmla="*/ 25483 h 608067"/>
                <a:gd name="connsiteX123" fmla="*/ 305308 w 572723"/>
                <a:gd name="connsiteY123" fmla="*/ 24481 h 608067"/>
                <a:gd name="connsiteX124" fmla="*/ 306311 w 572723"/>
                <a:gd name="connsiteY124" fmla="*/ 24481 h 608067"/>
                <a:gd name="connsiteX125" fmla="*/ 312329 w 572723"/>
                <a:gd name="connsiteY125" fmla="*/ 23478 h 608067"/>
                <a:gd name="connsiteX126" fmla="*/ 310323 w 572723"/>
                <a:gd name="connsiteY126" fmla="*/ 16459 h 608067"/>
                <a:gd name="connsiteX127" fmla="*/ 309320 w 572723"/>
                <a:gd name="connsiteY127" fmla="*/ 9440 h 608067"/>
                <a:gd name="connsiteX128" fmla="*/ 298288 w 572723"/>
                <a:gd name="connsiteY128" fmla="*/ 10443 h 608067"/>
                <a:gd name="connsiteX129" fmla="*/ 288258 w 572723"/>
                <a:gd name="connsiteY129" fmla="*/ 6432 h 608067"/>
                <a:gd name="connsiteX130" fmla="*/ 284246 w 572723"/>
                <a:gd name="connsiteY130" fmla="*/ 7434 h 608067"/>
                <a:gd name="connsiteX131" fmla="*/ 277226 w 572723"/>
                <a:gd name="connsiteY131" fmla="*/ 4426 h 608067"/>
                <a:gd name="connsiteX132" fmla="*/ 266194 w 572723"/>
                <a:gd name="connsiteY132" fmla="*/ 4426 h 608067"/>
                <a:gd name="connsiteX133" fmla="*/ 263185 w 572723"/>
                <a:gd name="connsiteY133" fmla="*/ 6432 h 608067"/>
                <a:gd name="connsiteX134" fmla="*/ 243126 w 572723"/>
                <a:gd name="connsiteY134" fmla="*/ 7434 h 608067"/>
                <a:gd name="connsiteX135" fmla="*/ 239114 w 572723"/>
                <a:gd name="connsiteY135" fmla="*/ 2421 h 608067"/>
                <a:gd name="connsiteX136" fmla="*/ 246135 w 572723"/>
                <a:gd name="connsiteY136" fmla="*/ 4426 h 608067"/>
                <a:gd name="connsiteX137" fmla="*/ 256164 w 572723"/>
                <a:gd name="connsiteY137" fmla="*/ 415 h 608067"/>
                <a:gd name="connsiteX138" fmla="*/ 241120 w 572723"/>
                <a:gd name="connsiteY138" fmla="*/ 1418 h 608067"/>
                <a:gd name="connsiteX139" fmla="*/ 242123 w 572723"/>
                <a:gd name="connsiteY139" fmla="*/ 1418 h 608067"/>
                <a:gd name="connsiteX140" fmla="*/ 222064 w 572723"/>
                <a:gd name="connsiteY140" fmla="*/ 4426 h 608067"/>
                <a:gd name="connsiteX141" fmla="*/ 224070 w 572723"/>
                <a:gd name="connsiteY141" fmla="*/ 1418 h 608067"/>
                <a:gd name="connsiteX142" fmla="*/ 217050 w 572723"/>
                <a:gd name="connsiteY142" fmla="*/ 2421 h 608067"/>
                <a:gd name="connsiteX143" fmla="*/ 217050 w 572723"/>
                <a:gd name="connsiteY143" fmla="*/ 3424 h 608067"/>
                <a:gd name="connsiteX144" fmla="*/ 208023 w 572723"/>
                <a:gd name="connsiteY144" fmla="*/ 5429 h 608067"/>
                <a:gd name="connsiteX145" fmla="*/ 191976 w 572723"/>
                <a:gd name="connsiteY145" fmla="*/ 13451 h 608067"/>
                <a:gd name="connsiteX146" fmla="*/ 177935 w 572723"/>
                <a:gd name="connsiteY146" fmla="*/ 22475 h 608067"/>
                <a:gd name="connsiteX147" fmla="*/ 167906 w 572723"/>
                <a:gd name="connsiteY147" fmla="*/ 26486 h 608067"/>
                <a:gd name="connsiteX148" fmla="*/ 173923 w 572723"/>
                <a:gd name="connsiteY148" fmla="*/ 23478 h 608067"/>
                <a:gd name="connsiteX149" fmla="*/ 186961 w 572723"/>
                <a:gd name="connsiteY149" fmla="*/ 15456 h 608067"/>
                <a:gd name="connsiteX150" fmla="*/ 200000 w 572723"/>
                <a:gd name="connsiteY150" fmla="*/ 8437 h 608067"/>
                <a:gd name="connsiteX151" fmla="*/ 203009 w 572723"/>
                <a:gd name="connsiteY151" fmla="*/ 6432 h 608067"/>
                <a:gd name="connsiteX152" fmla="*/ 192979 w 572723"/>
                <a:gd name="connsiteY152" fmla="*/ 10443 h 608067"/>
                <a:gd name="connsiteX153" fmla="*/ 175929 w 572723"/>
                <a:gd name="connsiteY153" fmla="*/ 19467 h 608067"/>
                <a:gd name="connsiteX154" fmla="*/ 159882 w 572723"/>
                <a:gd name="connsiteY154" fmla="*/ 29494 h 608067"/>
                <a:gd name="connsiteX155" fmla="*/ 151859 w 572723"/>
                <a:gd name="connsiteY155" fmla="*/ 34508 h 608067"/>
                <a:gd name="connsiteX156" fmla="*/ 146844 w 572723"/>
                <a:gd name="connsiteY156" fmla="*/ 39522 h 608067"/>
                <a:gd name="connsiteX157" fmla="*/ 142832 w 572723"/>
                <a:gd name="connsiteY157" fmla="*/ 38519 h 608067"/>
                <a:gd name="connsiteX158" fmla="*/ 141829 w 572723"/>
                <a:gd name="connsiteY158" fmla="*/ 39522 h 608067"/>
                <a:gd name="connsiteX159" fmla="*/ 137818 w 572723"/>
                <a:gd name="connsiteY159" fmla="*/ 40524 h 608067"/>
                <a:gd name="connsiteX160" fmla="*/ 124780 w 572723"/>
                <a:gd name="connsiteY160" fmla="*/ 50552 h 608067"/>
                <a:gd name="connsiteX161" fmla="*/ 112744 w 572723"/>
                <a:gd name="connsiteY161" fmla="*/ 62584 h 608067"/>
                <a:gd name="connsiteX162" fmla="*/ 118762 w 572723"/>
                <a:gd name="connsiteY162" fmla="*/ 50552 h 608067"/>
                <a:gd name="connsiteX163" fmla="*/ 119765 w 572723"/>
                <a:gd name="connsiteY163" fmla="*/ 50552 h 608067"/>
                <a:gd name="connsiteX164" fmla="*/ 122774 w 572723"/>
                <a:gd name="connsiteY164" fmla="*/ 45538 h 608067"/>
                <a:gd name="connsiteX165" fmla="*/ 109736 w 572723"/>
                <a:gd name="connsiteY165" fmla="*/ 57571 h 608067"/>
                <a:gd name="connsiteX166" fmla="*/ 106727 w 572723"/>
                <a:gd name="connsiteY166" fmla="*/ 59576 h 608067"/>
                <a:gd name="connsiteX167" fmla="*/ 106727 w 572723"/>
                <a:gd name="connsiteY167" fmla="*/ 59576 h 608067"/>
                <a:gd name="connsiteX168" fmla="*/ 104721 w 572723"/>
                <a:gd name="connsiteY168" fmla="*/ 59576 h 608067"/>
                <a:gd name="connsiteX169" fmla="*/ 104721 w 572723"/>
                <a:gd name="connsiteY169" fmla="*/ 58573 h 608067"/>
                <a:gd name="connsiteX170" fmla="*/ 93688 w 572723"/>
                <a:gd name="connsiteY170" fmla="*/ 68601 h 608067"/>
                <a:gd name="connsiteX171" fmla="*/ 80650 w 572723"/>
                <a:gd name="connsiteY171" fmla="*/ 84644 h 608067"/>
                <a:gd name="connsiteX172" fmla="*/ 78644 w 572723"/>
                <a:gd name="connsiteY172" fmla="*/ 88655 h 608067"/>
                <a:gd name="connsiteX173" fmla="*/ 58586 w 572723"/>
                <a:gd name="connsiteY173" fmla="*/ 112721 h 608067"/>
                <a:gd name="connsiteX174" fmla="*/ 61594 w 572723"/>
                <a:gd name="connsiteY174" fmla="*/ 113723 h 608067"/>
                <a:gd name="connsiteX175" fmla="*/ 56580 w 572723"/>
                <a:gd name="connsiteY175" fmla="*/ 121745 h 608067"/>
                <a:gd name="connsiteX176" fmla="*/ 51565 w 572723"/>
                <a:gd name="connsiteY176" fmla="*/ 123751 h 608067"/>
                <a:gd name="connsiteX177" fmla="*/ 46550 w 572723"/>
                <a:gd name="connsiteY177" fmla="*/ 124753 h 608067"/>
                <a:gd name="connsiteX178" fmla="*/ 40533 w 572723"/>
                <a:gd name="connsiteY178" fmla="*/ 136786 h 608067"/>
                <a:gd name="connsiteX179" fmla="*/ 39530 w 572723"/>
                <a:gd name="connsiteY179" fmla="*/ 144808 h 608067"/>
                <a:gd name="connsiteX180" fmla="*/ 31506 w 572723"/>
                <a:gd name="connsiteY180" fmla="*/ 156841 h 608067"/>
                <a:gd name="connsiteX181" fmla="*/ 29501 w 572723"/>
                <a:gd name="connsiteY181" fmla="*/ 154835 h 608067"/>
                <a:gd name="connsiteX182" fmla="*/ 19471 w 572723"/>
                <a:gd name="connsiteY182" fmla="*/ 173887 h 608067"/>
                <a:gd name="connsiteX183" fmla="*/ 16462 w 572723"/>
                <a:gd name="connsiteY183" fmla="*/ 194944 h 608067"/>
                <a:gd name="connsiteX184" fmla="*/ 17465 w 572723"/>
                <a:gd name="connsiteY184" fmla="*/ 206977 h 60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</a:cxnLst>
              <a:rect l="l" t="t" r="r" b="b"/>
              <a:pathLst>
                <a:path w="572723" h="608067">
                  <a:moveTo>
                    <a:pt x="17465" y="206977"/>
                  </a:moveTo>
                  <a:lnTo>
                    <a:pt x="15460" y="213996"/>
                  </a:lnTo>
                  <a:cubicBezTo>
                    <a:pt x="20474" y="189931"/>
                    <a:pt x="29501" y="165865"/>
                    <a:pt x="40533" y="142802"/>
                  </a:cubicBezTo>
                  <a:cubicBezTo>
                    <a:pt x="25489" y="165865"/>
                    <a:pt x="12451" y="194944"/>
                    <a:pt x="6433" y="223020"/>
                  </a:cubicBezTo>
                  <a:cubicBezTo>
                    <a:pt x="415" y="251097"/>
                    <a:pt x="1418" y="279173"/>
                    <a:pt x="8439" y="300230"/>
                  </a:cubicBezTo>
                  <a:cubicBezTo>
                    <a:pt x="4427" y="302236"/>
                    <a:pt x="1418" y="317277"/>
                    <a:pt x="415" y="331315"/>
                  </a:cubicBezTo>
                  <a:cubicBezTo>
                    <a:pt x="-588" y="345353"/>
                    <a:pt x="415" y="359391"/>
                    <a:pt x="1418" y="359391"/>
                  </a:cubicBezTo>
                  <a:cubicBezTo>
                    <a:pt x="4427" y="370421"/>
                    <a:pt x="7436" y="381451"/>
                    <a:pt x="10445" y="392481"/>
                  </a:cubicBezTo>
                  <a:cubicBezTo>
                    <a:pt x="8439" y="384459"/>
                    <a:pt x="6433" y="377440"/>
                    <a:pt x="4427" y="369418"/>
                  </a:cubicBezTo>
                  <a:cubicBezTo>
                    <a:pt x="6433" y="376438"/>
                    <a:pt x="8439" y="384459"/>
                    <a:pt x="10445" y="392481"/>
                  </a:cubicBezTo>
                  <a:cubicBezTo>
                    <a:pt x="15460" y="409527"/>
                    <a:pt x="21477" y="427577"/>
                    <a:pt x="29501" y="445626"/>
                  </a:cubicBezTo>
                  <a:cubicBezTo>
                    <a:pt x="37524" y="463675"/>
                    <a:pt x="47553" y="480721"/>
                    <a:pt x="60592" y="496765"/>
                  </a:cubicBezTo>
                  <a:cubicBezTo>
                    <a:pt x="86668" y="527849"/>
                    <a:pt x="120768" y="551915"/>
                    <a:pt x="156873" y="569964"/>
                  </a:cubicBezTo>
                  <a:cubicBezTo>
                    <a:pt x="176932" y="579991"/>
                    <a:pt x="216047" y="594029"/>
                    <a:pt x="257167" y="601048"/>
                  </a:cubicBezTo>
                  <a:cubicBezTo>
                    <a:pt x="278229" y="605059"/>
                    <a:pt x="299291" y="607064"/>
                    <a:pt x="317343" y="608067"/>
                  </a:cubicBezTo>
                  <a:cubicBezTo>
                    <a:pt x="336399" y="608067"/>
                    <a:pt x="353449" y="608067"/>
                    <a:pt x="364481" y="607064"/>
                  </a:cubicBezTo>
                  <a:cubicBezTo>
                    <a:pt x="371502" y="606062"/>
                    <a:pt x="378522" y="606062"/>
                    <a:pt x="385543" y="604056"/>
                  </a:cubicBezTo>
                  <a:cubicBezTo>
                    <a:pt x="373508" y="606062"/>
                    <a:pt x="373508" y="605059"/>
                    <a:pt x="362475" y="606062"/>
                  </a:cubicBezTo>
                  <a:cubicBezTo>
                    <a:pt x="390558" y="600045"/>
                    <a:pt x="415631" y="591021"/>
                    <a:pt x="438699" y="578988"/>
                  </a:cubicBezTo>
                  <a:cubicBezTo>
                    <a:pt x="433684" y="579991"/>
                    <a:pt x="432681" y="578988"/>
                    <a:pt x="422652" y="580994"/>
                  </a:cubicBezTo>
                  <a:cubicBezTo>
                    <a:pt x="426664" y="579991"/>
                    <a:pt x="430675" y="578988"/>
                    <a:pt x="434687" y="576983"/>
                  </a:cubicBezTo>
                  <a:cubicBezTo>
                    <a:pt x="444716" y="569964"/>
                    <a:pt x="467784" y="555925"/>
                    <a:pt x="476810" y="546901"/>
                  </a:cubicBezTo>
                  <a:cubicBezTo>
                    <a:pt x="475807" y="549909"/>
                    <a:pt x="483831" y="543893"/>
                    <a:pt x="490852" y="537876"/>
                  </a:cubicBezTo>
                  <a:lnTo>
                    <a:pt x="487843" y="538879"/>
                  </a:lnTo>
                  <a:cubicBezTo>
                    <a:pt x="500881" y="527849"/>
                    <a:pt x="512916" y="513811"/>
                    <a:pt x="521943" y="498770"/>
                  </a:cubicBezTo>
                  <a:cubicBezTo>
                    <a:pt x="530969" y="483729"/>
                    <a:pt x="537989" y="467686"/>
                    <a:pt x="543004" y="454650"/>
                  </a:cubicBezTo>
                  <a:cubicBezTo>
                    <a:pt x="544007" y="450639"/>
                    <a:pt x="546013" y="448634"/>
                    <a:pt x="547016" y="446628"/>
                  </a:cubicBezTo>
                  <a:cubicBezTo>
                    <a:pt x="549022" y="437604"/>
                    <a:pt x="552031" y="428579"/>
                    <a:pt x="553033" y="419555"/>
                  </a:cubicBezTo>
                  <a:cubicBezTo>
                    <a:pt x="555039" y="422563"/>
                    <a:pt x="560054" y="397495"/>
                    <a:pt x="559051" y="411533"/>
                  </a:cubicBezTo>
                  <a:cubicBezTo>
                    <a:pt x="561057" y="390476"/>
                    <a:pt x="566072" y="371424"/>
                    <a:pt x="566072" y="352372"/>
                  </a:cubicBezTo>
                  <a:cubicBezTo>
                    <a:pt x="571086" y="319282"/>
                    <a:pt x="575098" y="283184"/>
                    <a:pt x="571086" y="246083"/>
                  </a:cubicBezTo>
                  <a:cubicBezTo>
                    <a:pt x="567075" y="208982"/>
                    <a:pt x="552031" y="171881"/>
                    <a:pt x="528963" y="144808"/>
                  </a:cubicBezTo>
                  <a:lnTo>
                    <a:pt x="528963" y="146813"/>
                  </a:lnTo>
                  <a:cubicBezTo>
                    <a:pt x="512916" y="127762"/>
                    <a:pt x="493860" y="114726"/>
                    <a:pt x="469790" y="96677"/>
                  </a:cubicBezTo>
                  <a:cubicBezTo>
                    <a:pt x="459760" y="91663"/>
                    <a:pt x="447725" y="86650"/>
                    <a:pt x="437696" y="83642"/>
                  </a:cubicBezTo>
                  <a:cubicBezTo>
                    <a:pt x="432681" y="81636"/>
                    <a:pt x="427666" y="80633"/>
                    <a:pt x="422652" y="80633"/>
                  </a:cubicBezTo>
                  <a:cubicBezTo>
                    <a:pt x="418640" y="80633"/>
                    <a:pt x="414628" y="79631"/>
                    <a:pt x="412622" y="80633"/>
                  </a:cubicBezTo>
                  <a:cubicBezTo>
                    <a:pt x="406605" y="79631"/>
                    <a:pt x="401590" y="78628"/>
                    <a:pt x="397578" y="77625"/>
                  </a:cubicBezTo>
                  <a:cubicBezTo>
                    <a:pt x="392564" y="77625"/>
                    <a:pt x="388552" y="76623"/>
                    <a:pt x="384540" y="76623"/>
                  </a:cubicBezTo>
                  <a:cubicBezTo>
                    <a:pt x="380528" y="76623"/>
                    <a:pt x="376517" y="76623"/>
                    <a:pt x="372505" y="76623"/>
                  </a:cubicBezTo>
                  <a:cubicBezTo>
                    <a:pt x="368493" y="76623"/>
                    <a:pt x="363478" y="76623"/>
                    <a:pt x="357461" y="77625"/>
                  </a:cubicBezTo>
                  <a:cubicBezTo>
                    <a:pt x="360470" y="78628"/>
                    <a:pt x="355455" y="79631"/>
                    <a:pt x="350440" y="80633"/>
                  </a:cubicBezTo>
                  <a:cubicBezTo>
                    <a:pt x="346429" y="81636"/>
                    <a:pt x="341414" y="82639"/>
                    <a:pt x="347431" y="82639"/>
                  </a:cubicBezTo>
                  <a:cubicBezTo>
                    <a:pt x="361473" y="85647"/>
                    <a:pt x="362475" y="82639"/>
                    <a:pt x="374511" y="85647"/>
                  </a:cubicBezTo>
                  <a:lnTo>
                    <a:pt x="374511" y="84644"/>
                  </a:lnTo>
                  <a:cubicBezTo>
                    <a:pt x="402593" y="88655"/>
                    <a:pt x="428669" y="99685"/>
                    <a:pt x="451737" y="115729"/>
                  </a:cubicBezTo>
                  <a:cubicBezTo>
                    <a:pt x="474804" y="131772"/>
                    <a:pt x="494863" y="151827"/>
                    <a:pt x="507901" y="175892"/>
                  </a:cubicBezTo>
                  <a:cubicBezTo>
                    <a:pt x="518934" y="190933"/>
                    <a:pt x="525954" y="208982"/>
                    <a:pt x="528963" y="228034"/>
                  </a:cubicBezTo>
                  <a:cubicBezTo>
                    <a:pt x="532975" y="247086"/>
                    <a:pt x="532975" y="268143"/>
                    <a:pt x="531972" y="288198"/>
                  </a:cubicBezTo>
                  <a:cubicBezTo>
                    <a:pt x="530969" y="310258"/>
                    <a:pt x="527960" y="334323"/>
                    <a:pt x="524951" y="357386"/>
                  </a:cubicBezTo>
                  <a:cubicBezTo>
                    <a:pt x="521943" y="380448"/>
                    <a:pt x="518934" y="402508"/>
                    <a:pt x="513919" y="420557"/>
                  </a:cubicBezTo>
                  <a:cubicBezTo>
                    <a:pt x="511913" y="429582"/>
                    <a:pt x="507901" y="434596"/>
                    <a:pt x="503890" y="441615"/>
                  </a:cubicBezTo>
                  <a:cubicBezTo>
                    <a:pt x="497872" y="457658"/>
                    <a:pt x="489849" y="474705"/>
                    <a:pt x="477813" y="489746"/>
                  </a:cubicBezTo>
                  <a:cubicBezTo>
                    <a:pt x="465778" y="504786"/>
                    <a:pt x="450734" y="517822"/>
                    <a:pt x="434687" y="527849"/>
                  </a:cubicBezTo>
                  <a:cubicBezTo>
                    <a:pt x="435690" y="527849"/>
                    <a:pt x="435690" y="526846"/>
                    <a:pt x="436693" y="526846"/>
                  </a:cubicBezTo>
                  <a:cubicBezTo>
                    <a:pt x="419643" y="536874"/>
                    <a:pt x="404599" y="540885"/>
                    <a:pt x="385543" y="545898"/>
                  </a:cubicBezTo>
                  <a:cubicBezTo>
                    <a:pt x="385543" y="546901"/>
                    <a:pt x="382534" y="547904"/>
                    <a:pt x="381531" y="547904"/>
                  </a:cubicBezTo>
                  <a:cubicBezTo>
                    <a:pt x="380528" y="546901"/>
                    <a:pt x="372505" y="548906"/>
                    <a:pt x="361473" y="550912"/>
                  </a:cubicBezTo>
                  <a:cubicBezTo>
                    <a:pt x="350440" y="552917"/>
                    <a:pt x="335396" y="554923"/>
                    <a:pt x="320352" y="556928"/>
                  </a:cubicBezTo>
                  <a:cubicBezTo>
                    <a:pt x="289261" y="558934"/>
                    <a:pt x="257167" y="555925"/>
                    <a:pt x="254158" y="553920"/>
                  </a:cubicBezTo>
                  <a:cubicBezTo>
                    <a:pt x="252152" y="553920"/>
                    <a:pt x="250147" y="552917"/>
                    <a:pt x="247138" y="552917"/>
                  </a:cubicBezTo>
                  <a:cubicBezTo>
                    <a:pt x="226076" y="547904"/>
                    <a:pt x="204012" y="539882"/>
                    <a:pt x="184956" y="529855"/>
                  </a:cubicBezTo>
                  <a:cubicBezTo>
                    <a:pt x="165900" y="520830"/>
                    <a:pt x="148850" y="509800"/>
                    <a:pt x="133806" y="500776"/>
                  </a:cubicBezTo>
                  <a:cubicBezTo>
                    <a:pt x="126785" y="497767"/>
                    <a:pt x="118762" y="493756"/>
                    <a:pt x="112744" y="490748"/>
                  </a:cubicBezTo>
                  <a:cubicBezTo>
                    <a:pt x="108733" y="485735"/>
                    <a:pt x="105724" y="486737"/>
                    <a:pt x="100709" y="480721"/>
                  </a:cubicBezTo>
                  <a:cubicBezTo>
                    <a:pt x="91682" y="462672"/>
                    <a:pt x="84662" y="454650"/>
                    <a:pt x="87671" y="464677"/>
                  </a:cubicBezTo>
                  <a:cubicBezTo>
                    <a:pt x="76638" y="452645"/>
                    <a:pt x="69618" y="438607"/>
                    <a:pt x="64603" y="425571"/>
                  </a:cubicBezTo>
                  <a:cubicBezTo>
                    <a:pt x="61594" y="419555"/>
                    <a:pt x="58586" y="413538"/>
                    <a:pt x="56580" y="407522"/>
                  </a:cubicBezTo>
                  <a:cubicBezTo>
                    <a:pt x="54574" y="402508"/>
                    <a:pt x="54574" y="398498"/>
                    <a:pt x="55577" y="395489"/>
                  </a:cubicBezTo>
                  <a:cubicBezTo>
                    <a:pt x="51565" y="381451"/>
                    <a:pt x="53571" y="385462"/>
                    <a:pt x="51565" y="369418"/>
                  </a:cubicBezTo>
                  <a:cubicBezTo>
                    <a:pt x="52568" y="367413"/>
                    <a:pt x="49559" y="357386"/>
                    <a:pt x="47553" y="347359"/>
                  </a:cubicBezTo>
                  <a:cubicBezTo>
                    <a:pt x="45548" y="337331"/>
                    <a:pt x="43542" y="327304"/>
                    <a:pt x="43542" y="325299"/>
                  </a:cubicBezTo>
                  <a:lnTo>
                    <a:pt x="43542" y="328307"/>
                  </a:lnTo>
                  <a:cubicBezTo>
                    <a:pt x="42539" y="309255"/>
                    <a:pt x="47553" y="297222"/>
                    <a:pt x="48556" y="280176"/>
                  </a:cubicBezTo>
                  <a:cubicBezTo>
                    <a:pt x="50562" y="255108"/>
                    <a:pt x="54574" y="230040"/>
                    <a:pt x="61594" y="205974"/>
                  </a:cubicBezTo>
                  <a:cubicBezTo>
                    <a:pt x="67612" y="181909"/>
                    <a:pt x="77641" y="158846"/>
                    <a:pt x="89677" y="139794"/>
                  </a:cubicBezTo>
                  <a:cubicBezTo>
                    <a:pt x="87671" y="137789"/>
                    <a:pt x="85665" y="148819"/>
                    <a:pt x="82656" y="147816"/>
                  </a:cubicBezTo>
                  <a:cubicBezTo>
                    <a:pt x="95694" y="123751"/>
                    <a:pt x="113747" y="104699"/>
                    <a:pt x="132803" y="87653"/>
                  </a:cubicBezTo>
                  <a:cubicBezTo>
                    <a:pt x="136815" y="84644"/>
                    <a:pt x="141829" y="82639"/>
                    <a:pt x="143835" y="81636"/>
                  </a:cubicBezTo>
                  <a:cubicBezTo>
                    <a:pt x="150856" y="76623"/>
                    <a:pt x="146844" y="77625"/>
                    <a:pt x="151859" y="74617"/>
                  </a:cubicBezTo>
                  <a:lnTo>
                    <a:pt x="153865" y="75620"/>
                  </a:lnTo>
                  <a:cubicBezTo>
                    <a:pt x="159882" y="68601"/>
                    <a:pt x="165900" y="70606"/>
                    <a:pt x="171917" y="64590"/>
                  </a:cubicBezTo>
                  <a:cubicBezTo>
                    <a:pt x="171917" y="63587"/>
                    <a:pt x="173923" y="61582"/>
                    <a:pt x="176932" y="60579"/>
                  </a:cubicBezTo>
                  <a:cubicBezTo>
                    <a:pt x="177935" y="62584"/>
                    <a:pt x="184956" y="55565"/>
                    <a:pt x="184956" y="58573"/>
                  </a:cubicBezTo>
                  <a:lnTo>
                    <a:pt x="184956" y="58573"/>
                  </a:lnTo>
                  <a:cubicBezTo>
                    <a:pt x="186961" y="57571"/>
                    <a:pt x="187964" y="57571"/>
                    <a:pt x="189970" y="56568"/>
                  </a:cubicBezTo>
                  <a:cubicBezTo>
                    <a:pt x="190973" y="55565"/>
                    <a:pt x="197994" y="49549"/>
                    <a:pt x="206018" y="45538"/>
                  </a:cubicBezTo>
                  <a:cubicBezTo>
                    <a:pt x="213038" y="40524"/>
                    <a:pt x="221062" y="36513"/>
                    <a:pt x="223067" y="35511"/>
                  </a:cubicBezTo>
                  <a:lnTo>
                    <a:pt x="225073" y="35511"/>
                  </a:lnTo>
                  <a:cubicBezTo>
                    <a:pt x="230088" y="34508"/>
                    <a:pt x="231091" y="32503"/>
                    <a:pt x="228082" y="32503"/>
                  </a:cubicBezTo>
                  <a:lnTo>
                    <a:pt x="234100" y="31500"/>
                  </a:lnTo>
                  <a:lnTo>
                    <a:pt x="233097" y="31500"/>
                  </a:lnTo>
                  <a:lnTo>
                    <a:pt x="239114" y="30497"/>
                  </a:lnTo>
                  <a:cubicBezTo>
                    <a:pt x="240117" y="30497"/>
                    <a:pt x="241120" y="31500"/>
                    <a:pt x="240117" y="32503"/>
                  </a:cubicBezTo>
                  <a:cubicBezTo>
                    <a:pt x="243126" y="31500"/>
                    <a:pt x="247138" y="30497"/>
                    <a:pt x="250147" y="30497"/>
                  </a:cubicBezTo>
                  <a:cubicBezTo>
                    <a:pt x="241120" y="30497"/>
                    <a:pt x="229085" y="30497"/>
                    <a:pt x="219056" y="31500"/>
                  </a:cubicBezTo>
                  <a:cubicBezTo>
                    <a:pt x="223067" y="29494"/>
                    <a:pt x="230088" y="29494"/>
                    <a:pt x="234100" y="27489"/>
                  </a:cubicBezTo>
                  <a:cubicBezTo>
                    <a:pt x="237108" y="27489"/>
                    <a:pt x="241120" y="27489"/>
                    <a:pt x="245132" y="27489"/>
                  </a:cubicBezTo>
                  <a:cubicBezTo>
                    <a:pt x="249144" y="27489"/>
                    <a:pt x="254158" y="27489"/>
                    <a:pt x="258170" y="27489"/>
                  </a:cubicBezTo>
                  <a:cubicBezTo>
                    <a:pt x="260176" y="27489"/>
                    <a:pt x="261179" y="24481"/>
                    <a:pt x="265191" y="25483"/>
                  </a:cubicBezTo>
                  <a:cubicBezTo>
                    <a:pt x="267196" y="27489"/>
                    <a:pt x="270205" y="25483"/>
                    <a:pt x="273214" y="26486"/>
                  </a:cubicBezTo>
                  <a:cubicBezTo>
                    <a:pt x="269202" y="27489"/>
                    <a:pt x="265191" y="27489"/>
                    <a:pt x="261179" y="27489"/>
                  </a:cubicBezTo>
                  <a:cubicBezTo>
                    <a:pt x="261179" y="28492"/>
                    <a:pt x="264188" y="28492"/>
                    <a:pt x="266194" y="28492"/>
                  </a:cubicBezTo>
                  <a:cubicBezTo>
                    <a:pt x="269202" y="28492"/>
                    <a:pt x="272211" y="28492"/>
                    <a:pt x="273214" y="28492"/>
                  </a:cubicBezTo>
                  <a:cubicBezTo>
                    <a:pt x="274217" y="27489"/>
                    <a:pt x="282240" y="28492"/>
                    <a:pt x="287255" y="28492"/>
                  </a:cubicBezTo>
                  <a:cubicBezTo>
                    <a:pt x="285249" y="30497"/>
                    <a:pt x="291267" y="30497"/>
                    <a:pt x="293273" y="31500"/>
                  </a:cubicBezTo>
                  <a:cubicBezTo>
                    <a:pt x="296282" y="31500"/>
                    <a:pt x="298288" y="31500"/>
                    <a:pt x="297285" y="30497"/>
                  </a:cubicBezTo>
                  <a:cubicBezTo>
                    <a:pt x="298288" y="28492"/>
                    <a:pt x="285249" y="27489"/>
                    <a:pt x="289261" y="25483"/>
                  </a:cubicBezTo>
                  <a:cubicBezTo>
                    <a:pt x="290264" y="26486"/>
                    <a:pt x="296282" y="26486"/>
                    <a:pt x="300294" y="27489"/>
                  </a:cubicBezTo>
                  <a:cubicBezTo>
                    <a:pt x="300294" y="26486"/>
                    <a:pt x="298288" y="26486"/>
                    <a:pt x="300294" y="25483"/>
                  </a:cubicBezTo>
                  <a:cubicBezTo>
                    <a:pt x="304305" y="26486"/>
                    <a:pt x="308317" y="25483"/>
                    <a:pt x="310323" y="27489"/>
                  </a:cubicBezTo>
                  <a:cubicBezTo>
                    <a:pt x="309320" y="27489"/>
                    <a:pt x="308317" y="27489"/>
                    <a:pt x="307314" y="26486"/>
                  </a:cubicBezTo>
                  <a:cubicBezTo>
                    <a:pt x="309320" y="27489"/>
                    <a:pt x="302299" y="27489"/>
                    <a:pt x="296282" y="28492"/>
                  </a:cubicBezTo>
                  <a:cubicBezTo>
                    <a:pt x="289261" y="29494"/>
                    <a:pt x="283243" y="31500"/>
                    <a:pt x="286252" y="30497"/>
                  </a:cubicBezTo>
                  <a:cubicBezTo>
                    <a:pt x="285249" y="30497"/>
                    <a:pt x="292270" y="28492"/>
                    <a:pt x="299291" y="27489"/>
                  </a:cubicBezTo>
                  <a:cubicBezTo>
                    <a:pt x="306311" y="27489"/>
                    <a:pt x="313332" y="26486"/>
                    <a:pt x="311326" y="26486"/>
                  </a:cubicBezTo>
                  <a:cubicBezTo>
                    <a:pt x="308317" y="25483"/>
                    <a:pt x="314335" y="24481"/>
                    <a:pt x="311326" y="23478"/>
                  </a:cubicBezTo>
                  <a:lnTo>
                    <a:pt x="307314" y="24481"/>
                  </a:lnTo>
                  <a:cubicBezTo>
                    <a:pt x="303302" y="23478"/>
                    <a:pt x="302299" y="20470"/>
                    <a:pt x="303302" y="20470"/>
                  </a:cubicBezTo>
                  <a:cubicBezTo>
                    <a:pt x="307314" y="21473"/>
                    <a:pt x="301297" y="22475"/>
                    <a:pt x="296282" y="23478"/>
                  </a:cubicBezTo>
                  <a:cubicBezTo>
                    <a:pt x="291267" y="24481"/>
                    <a:pt x="285249" y="26486"/>
                    <a:pt x="288258" y="25483"/>
                  </a:cubicBezTo>
                  <a:lnTo>
                    <a:pt x="286252" y="24481"/>
                  </a:lnTo>
                  <a:cubicBezTo>
                    <a:pt x="289261" y="24481"/>
                    <a:pt x="296282" y="23478"/>
                    <a:pt x="298288" y="25483"/>
                  </a:cubicBezTo>
                  <a:cubicBezTo>
                    <a:pt x="298288" y="24481"/>
                    <a:pt x="302299" y="24481"/>
                    <a:pt x="305308" y="24481"/>
                  </a:cubicBezTo>
                  <a:lnTo>
                    <a:pt x="306311" y="24481"/>
                  </a:lnTo>
                  <a:cubicBezTo>
                    <a:pt x="309320" y="24481"/>
                    <a:pt x="313332" y="25483"/>
                    <a:pt x="312329" y="23478"/>
                  </a:cubicBezTo>
                  <a:cubicBezTo>
                    <a:pt x="303302" y="22475"/>
                    <a:pt x="307314" y="19467"/>
                    <a:pt x="310323" y="16459"/>
                  </a:cubicBezTo>
                  <a:cubicBezTo>
                    <a:pt x="314335" y="13451"/>
                    <a:pt x="318346" y="11445"/>
                    <a:pt x="309320" y="9440"/>
                  </a:cubicBezTo>
                  <a:cubicBezTo>
                    <a:pt x="316341" y="13451"/>
                    <a:pt x="306311" y="11445"/>
                    <a:pt x="298288" y="10443"/>
                  </a:cubicBezTo>
                  <a:cubicBezTo>
                    <a:pt x="297285" y="9440"/>
                    <a:pt x="294276" y="7434"/>
                    <a:pt x="288258" y="6432"/>
                  </a:cubicBezTo>
                  <a:cubicBezTo>
                    <a:pt x="283243" y="6432"/>
                    <a:pt x="285249" y="7434"/>
                    <a:pt x="284246" y="7434"/>
                  </a:cubicBezTo>
                  <a:cubicBezTo>
                    <a:pt x="281238" y="6432"/>
                    <a:pt x="276223" y="6432"/>
                    <a:pt x="277226" y="4426"/>
                  </a:cubicBezTo>
                  <a:cubicBezTo>
                    <a:pt x="273214" y="6432"/>
                    <a:pt x="271208" y="3424"/>
                    <a:pt x="266194" y="4426"/>
                  </a:cubicBezTo>
                  <a:cubicBezTo>
                    <a:pt x="262182" y="5429"/>
                    <a:pt x="266194" y="5429"/>
                    <a:pt x="263185" y="6432"/>
                  </a:cubicBezTo>
                  <a:cubicBezTo>
                    <a:pt x="257167" y="6432"/>
                    <a:pt x="248141" y="7434"/>
                    <a:pt x="243126" y="7434"/>
                  </a:cubicBezTo>
                  <a:cubicBezTo>
                    <a:pt x="241120" y="6432"/>
                    <a:pt x="235103" y="5429"/>
                    <a:pt x="239114" y="2421"/>
                  </a:cubicBezTo>
                  <a:cubicBezTo>
                    <a:pt x="249144" y="1418"/>
                    <a:pt x="236106" y="6432"/>
                    <a:pt x="246135" y="4426"/>
                  </a:cubicBezTo>
                  <a:cubicBezTo>
                    <a:pt x="241120" y="2421"/>
                    <a:pt x="255161" y="2421"/>
                    <a:pt x="256164" y="415"/>
                  </a:cubicBezTo>
                  <a:cubicBezTo>
                    <a:pt x="253155" y="-587"/>
                    <a:pt x="246135" y="415"/>
                    <a:pt x="241120" y="1418"/>
                  </a:cubicBezTo>
                  <a:lnTo>
                    <a:pt x="242123" y="1418"/>
                  </a:lnTo>
                  <a:cubicBezTo>
                    <a:pt x="237108" y="2421"/>
                    <a:pt x="228082" y="5429"/>
                    <a:pt x="222064" y="4426"/>
                  </a:cubicBezTo>
                  <a:cubicBezTo>
                    <a:pt x="223067" y="3424"/>
                    <a:pt x="221062" y="2421"/>
                    <a:pt x="224070" y="1418"/>
                  </a:cubicBezTo>
                  <a:lnTo>
                    <a:pt x="217050" y="2421"/>
                  </a:lnTo>
                  <a:cubicBezTo>
                    <a:pt x="216047" y="3424"/>
                    <a:pt x="215044" y="3424"/>
                    <a:pt x="217050" y="3424"/>
                  </a:cubicBezTo>
                  <a:cubicBezTo>
                    <a:pt x="214041" y="5429"/>
                    <a:pt x="211032" y="5429"/>
                    <a:pt x="208023" y="5429"/>
                  </a:cubicBezTo>
                  <a:cubicBezTo>
                    <a:pt x="207020" y="5429"/>
                    <a:pt x="198997" y="8437"/>
                    <a:pt x="191976" y="13451"/>
                  </a:cubicBezTo>
                  <a:cubicBezTo>
                    <a:pt x="183953" y="17462"/>
                    <a:pt x="176932" y="22475"/>
                    <a:pt x="177935" y="22475"/>
                  </a:cubicBezTo>
                  <a:cubicBezTo>
                    <a:pt x="173923" y="24481"/>
                    <a:pt x="171917" y="23478"/>
                    <a:pt x="167906" y="26486"/>
                  </a:cubicBezTo>
                  <a:cubicBezTo>
                    <a:pt x="167906" y="26486"/>
                    <a:pt x="169912" y="25483"/>
                    <a:pt x="173923" y="23478"/>
                  </a:cubicBezTo>
                  <a:cubicBezTo>
                    <a:pt x="177935" y="21473"/>
                    <a:pt x="181947" y="18464"/>
                    <a:pt x="186961" y="15456"/>
                  </a:cubicBezTo>
                  <a:cubicBezTo>
                    <a:pt x="191976" y="13451"/>
                    <a:pt x="195988" y="10443"/>
                    <a:pt x="200000" y="8437"/>
                  </a:cubicBezTo>
                  <a:cubicBezTo>
                    <a:pt x="203009" y="7434"/>
                    <a:pt x="205015" y="6432"/>
                    <a:pt x="203009" y="6432"/>
                  </a:cubicBezTo>
                  <a:cubicBezTo>
                    <a:pt x="202006" y="6432"/>
                    <a:pt x="197994" y="7434"/>
                    <a:pt x="192979" y="10443"/>
                  </a:cubicBezTo>
                  <a:cubicBezTo>
                    <a:pt x="187964" y="12448"/>
                    <a:pt x="181947" y="16459"/>
                    <a:pt x="175929" y="19467"/>
                  </a:cubicBezTo>
                  <a:cubicBezTo>
                    <a:pt x="169912" y="22475"/>
                    <a:pt x="164897" y="26486"/>
                    <a:pt x="159882" y="29494"/>
                  </a:cubicBezTo>
                  <a:cubicBezTo>
                    <a:pt x="155871" y="32503"/>
                    <a:pt x="152862" y="34508"/>
                    <a:pt x="151859" y="34508"/>
                  </a:cubicBezTo>
                  <a:cubicBezTo>
                    <a:pt x="148850" y="36513"/>
                    <a:pt x="145841" y="39522"/>
                    <a:pt x="146844" y="39522"/>
                  </a:cubicBezTo>
                  <a:cubicBezTo>
                    <a:pt x="141829" y="42530"/>
                    <a:pt x="146844" y="36513"/>
                    <a:pt x="142832" y="38519"/>
                  </a:cubicBezTo>
                  <a:cubicBezTo>
                    <a:pt x="142832" y="38519"/>
                    <a:pt x="143835" y="38519"/>
                    <a:pt x="141829" y="39522"/>
                  </a:cubicBezTo>
                  <a:cubicBezTo>
                    <a:pt x="140827" y="39522"/>
                    <a:pt x="138821" y="40524"/>
                    <a:pt x="137818" y="40524"/>
                  </a:cubicBezTo>
                  <a:cubicBezTo>
                    <a:pt x="134809" y="44535"/>
                    <a:pt x="129794" y="47543"/>
                    <a:pt x="124780" y="50552"/>
                  </a:cubicBezTo>
                  <a:cubicBezTo>
                    <a:pt x="120768" y="54563"/>
                    <a:pt x="115753" y="58573"/>
                    <a:pt x="112744" y="62584"/>
                  </a:cubicBezTo>
                  <a:cubicBezTo>
                    <a:pt x="113747" y="59576"/>
                    <a:pt x="114750" y="55565"/>
                    <a:pt x="118762" y="50552"/>
                  </a:cubicBezTo>
                  <a:lnTo>
                    <a:pt x="119765" y="50552"/>
                  </a:lnTo>
                  <a:cubicBezTo>
                    <a:pt x="119765" y="49549"/>
                    <a:pt x="123777" y="45538"/>
                    <a:pt x="122774" y="45538"/>
                  </a:cubicBezTo>
                  <a:cubicBezTo>
                    <a:pt x="117759" y="48546"/>
                    <a:pt x="113747" y="52557"/>
                    <a:pt x="109736" y="57571"/>
                  </a:cubicBezTo>
                  <a:cubicBezTo>
                    <a:pt x="108733" y="58573"/>
                    <a:pt x="107730" y="58573"/>
                    <a:pt x="106727" y="59576"/>
                  </a:cubicBezTo>
                  <a:cubicBezTo>
                    <a:pt x="106727" y="59576"/>
                    <a:pt x="106727" y="59576"/>
                    <a:pt x="106727" y="59576"/>
                  </a:cubicBezTo>
                  <a:cubicBezTo>
                    <a:pt x="104721" y="60579"/>
                    <a:pt x="104721" y="60579"/>
                    <a:pt x="104721" y="59576"/>
                  </a:cubicBezTo>
                  <a:cubicBezTo>
                    <a:pt x="104721" y="59576"/>
                    <a:pt x="104721" y="59576"/>
                    <a:pt x="104721" y="58573"/>
                  </a:cubicBezTo>
                  <a:cubicBezTo>
                    <a:pt x="101712" y="58573"/>
                    <a:pt x="98703" y="63587"/>
                    <a:pt x="93688" y="68601"/>
                  </a:cubicBezTo>
                  <a:cubicBezTo>
                    <a:pt x="89677" y="74617"/>
                    <a:pt x="84662" y="80633"/>
                    <a:pt x="80650" y="84644"/>
                  </a:cubicBezTo>
                  <a:cubicBezTo>
                    <a:pt x="78644" y="87653"/>
                    <a:pt x="80650" y="85647"/>
                    <a:pt x="78644" y="88655"/>
                  </a:cubicBezTo>
                  <a:cubicBezTo>
                    <a:pt x="70621" y="96677"/>
                    <a:pt x="65606" y="102693"/>
                    <a:pt x="58586" y="112721"/>
                  </a:cubicBezTo>
                  <a:cubicBezTo>
                    <a:pt x="57583" y="116732"/>
                    <a:pt x="58586" y="117734"/>
                    <a:pt x="61594" y="113723"/>
                  </a:cubicBezTo>
                  <a:lnTo>
                    <a:pt x="56580" y="121745"/>
                  </a:lnTo>
                  <a:cubicBezTo>
                    <a:pt x="56580" y="117734"/>
                    <a:pt x="53571" y="120742"/>
                    <a:pt x="51565" y="123751"/>
                  </a:cubicBezTo>
                  <a:cubicBezTo>
                    <a:pt x="48556" y="126759"/>
                    <a:pt x="46550" y="129767"/>
                    <a:pt x="46550" y="124753"/>
                  </a:cubicBezTo>
                  <a:cubicBezTo>
                    <a:pt x="44545" y="126759"/>
                    <a:pt x="41536" y="131772"/>
                    <a:pt x="40533" y="136786"/>
                  </a:cubicBezTo>
                  <a:cubicBezTo>
                    <a:pt x="41536" y="137789"/>
                    <a:pt x="42539" y="138792"/>
                    <a:pt x="39530" y="144808"/>
                  </a:cubicBezTo>
                  <a:cubicBezTo>
                    <a:pt x="34515" y="152830"/>
                    <a:pt x="35518" y="150824"/>
                    <a:pt x="31506" y="156841"/>
                  </a:cubicBezTo>
                  <a:cubicBezTo>
                    <a:pt x="29501" y="157843"/>
                    <a:pt x="30504" y="154835"/>
                    <a:pt x="29501" y="154835"/>
                  </a:cubicBezTo>
                  <a:cubicBezTo>
                    <a:pt x="27495" y="165865"/>
                    <a:pt x="23483" y="162857"/>
                    <a:pt x="19471" y="173887"/>
                  </a:cubicBezTo>
                  <a:cubicBezTo>
                    <a:pt x="17465" y="180906"/>
                    <a:pt x="14457" y="193941"/>
                    <a:pt x="16462" y="194944"/>
                  </a:cubicBezTo>
                  <a:cubicBezTo>
                    <a:pt x="20474" y="208982"/>
                    <a:pt x="19471" y="208982"/>
                    <a:pt x="17465" y="206977"/>
                  </a:cubicBezTo>
                  <a:close/>
                </a:path>
              </a:pathLst>
            </a:custGeom>
            <a:solidFill>
              <a:srgbClr val="154573"/>
            </a:solidFill>
            <a:ln w="10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  <p:sp>
        <p:nvSpPr>
          <p:cNvPr id="30" name="Pladsholder til tekst 2">
            <a:extLst>
              <a:ext uri="{FF2B5EF4-FFF2-40B4-BE49-F238E27FC236}">
                <a16:creationId xmlns:a16="http://schemas.microsoft.com/office/drawing/2014/main" id="{C9B57B85-8770-0841-BB19-40B7516950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69700" y="4638065"/>
            <a:ext cx="13646700" cy="91210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1" name="Pladsholder til tekst 2">
            <a:extLst>
              <a:ext uri="{FF2B5EF4-FFF2-40B4-BE49-F238E27FC236}">
                <a16:creationId xmlns:a16="http://schemas.microsoft.com/office/drawing/2014/main" id="{E73C8752-A2E0-DC45-8EBA-D15AECFCAA4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69700" y="5901665"/>
            <a:ext cx="13646700" cy="91210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2" name="Pladsholder til tekst 2">
            <a:extLst>
              <a:ext uri="{FF2B5EF4-FFF2-40B4-BE49-F238E27FC236}">
                <a16:creationId xmlns:a16="http://schemas.microsoft.com/office/drawing/2014/main" id="{11E4C019-7294-044A-AF7C-F1E2E2E219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69700" y="7165265"/>
            <a:ext cx="13646700" cy="91210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33" name="Pladsholder til tekst 2">
            <a:extLst>
              <a:ext uri="{FF2B5EF4-FFF2-40B4-BE49-F238E27FC236}">
                <a16:creationId xmlns:a16="http://schemas.microsoft.com/office/drawing/2014/main" id="{2893B3F6-3C9F-6B4F-BD6D-9C63D898DF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69700" y="8428865"/>
            <a:ext cx="13646700" cy="912101"/>
          </a:xfr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089056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00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asere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E1980FE7-9B07-E646-894E-3528B0359370}"/>
              </a:ext>
            </a:extLst>
          </p:cNvPr>
          <p:cNvSpPr txBox="1"/>
          <p:nvPr userDrawn="1"/>
        </p:nvSpPr>
        <p:spPr>
          <a:xfrm>
            <a:off x="1190393" y="832811"/>
            <a:ext cx="15907215" cy="86213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7250" b="1">
                <a:solidFill>
                  <a:srgbClr val="FFFFFF"/>
                </a:solidFill>
              </a:rPr>
              <a:t>Tekstbaseret </a:t>
            </a:r>
            <a:br>
              <a:rPr lang="da-DK" sz="17250" b="1">
                <a:solidFill>
                  <a:srgbClr val="FFFFFF"/>
                </a:solidFill>
              </a:rPr>
            </a:br>
            <a:r>
              <a:rPr lang="da-DK" sz="17250" b="1">
                <a:solidFill>
                  <a:srgbClr val="FFFFFF"/>
                </a:solidFill>
              </a:rPr>
              <a:t>indhold</a:t>
            </a:r>
          </a:p>
        </p:txBody>
      </p:sp>
    </p:spTree>
    <p:extLst>
      <p:ext uri="{BB962C8B-B14F-4D97-AF65-F5344CB8AC3E}">
        <p14:creationId xmlns:p14="http://schemas.microsoft.com/office/powerpoint/2010/main" val="17970572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032874"/>
            <a:ext cx="15544800" cy="1289765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45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2605088"/>
            <a:ext cx="15544800" cy="64817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1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2B340005-E0B7-A043-B055-7006507B1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84436"/>
            <a:ext cx="15544800" cy="317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5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8867694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) Indhold - To tekst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22793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032874"/>
            <a:ext cx="15544800" cy="1289765"/>
          </a:xfrm>
        </p:spPr>
        <p:txBody>
          <a:bodyPr anchor="t">
            <a:noAutofit/>
          </a:bodyPr>
          <a:lstStyle>
            <a:lvl1pPr marL="0" marR="0" indent="0" algn="l" defTabSz="1371566" rtl="0" eaLnBrk="1" fontAlgn="auto" latinLnBrk="0" hangingPunct="1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a-DK" sz="45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1371566" rtl="0" eaLnBrk="1" fontAlgn="auto" latinLnBrk="0" hangingPunct="1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noProof="0"/>
              <a:t>Klik for at redigere i overskrift</a:t>
            </a:r>
          </a:p>
          <a:p>
            <a:pPr lvl="0"/>
            <a:endParaRPr lang="da-DK" noProof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84436"/>
            <a:ext cx="15544800" cy="317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5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  <p:sp>
        <p:nvSpPr>
          <p:cNvPr id="1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2605088"/>
            <a:ext cx="6062133" cy="64817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1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4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7933266" y="2596622"/>
            <a:ext cx="6062133" cy="64817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1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40442884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032874"/>
            <a:ext cx="15544800" cy="1289765"/>
          </a:xfrm>
        </p:spPr>
        <p:txBody>
          <a:bodyPr anchor="t">
            <a:noAutofit/>
          </a:bodyPr>
          <a:lstStyle>
            <a:lvl1pPr marL="0" indent="0" algn="l">
              <a:buNone/>
              <a:defRPr lang="da-DK" sz="4500" b="1" kern="1200" noProof="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i overskrift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0D2860C-54D8-6E47-8910-BC092C081A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84436"/>
            <a:ext cx="15544800" cy="31788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sz="1500" b="0" cap="none" baseline="0">
                <a:solidFill>
                  <a:srgbClr val="164573"/>
                </a:solidFill>
                <a:latin typeface="+mn-lt"/>
              </a:defRPr>
            </a:lvl1pPr>
          </a:lstStyle>
          <a:p>
            <a:r>
              <a:rPr lang="da-DK" noProof="0"/>
              <a:t>Klik for at redigere i </a:t>
            </a:r>
            <a:r>
              <a:rPr lang="da-DK" noProof="0" err="1"/>
              <a:t>tracker</a:t>
            </a:r>
            <a:endParaRPr lang="da-DK" noProof="0"/>
          </a:p>
        </p:txBody>
      </p:sp>
    </p:spTree>
    <p:extLst>
      <p:ext uri="{BB962C8B-B14F-4D97-AF65-F5344CB8AC3E}">
        <p14:creationId xmlns:p14="http://schemas.microsoft.com/office/powerpoint/2010/main" val="15411355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) Indhold -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iagram 4">
            <a:extLst>
              <a:ext uri="{FF2B5EF4-FFF2-40B4-BE49-F238E27FC236}">
                <a16:creationId xmlns:a16="http://schemas.microsoft.com/office/drawing/2014/main" id="{649C4CD9-CD6F-334F-98E9-4820250EF86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1371601" y="983975"/>
            <a:ext cx="15549563" cy="8102876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r>
              <a:rPr lang="da-DK"/>
              <a:t>Klik på ikonet for at tilføje et diagram</a:t>
            </a:r>
          </a:p>
        </p:txBody>
      </p:sp>
    </p:spTree>
    <p:extLst>
      <p:ext uri="{BB962C8B-B14F-4D97-AF65-F5344CB8AC3E}">
        <p14:creationId xmlns:p14="http://schemas.microsoft.com/office/powerpoint/2010/main" val="4071028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) Indhold -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abel 5">
            <a:extLst>
              <a:ext uri="{FF2B5EF4-FFF2-40B4-BE49-F238E27FC236}">
                <a16:creationId xmlns:a16="http://schemas.microsoft.com/office/drawing/2014/main" id="{FAC4DF31-B3FA-AA43-969D-3B3268B15152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1371601" y="983975"/>
            <a:ext cx="15549563" cy="8102876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2511408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imært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048D68E5-2222-BD40-9A9A-A1FFEB057981}"/>
              </a:ext>
            </a:extLst>
          </p:cNvPr>
          <p:cNvSpPr txBox="1"/>
          <p:nvPr userDrawn="1"/>
        </p:nvSpPr>
        <p:spPr>
          <a:xfrm>
            <a:off x="1190393" y="832811"/>
            <a:ext cx="15907215" cy="86213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7250" b="1">
                <a:solidFill>
                  <a:srgbClr val="FFFFFF"/>
                </a:solidFill>
              </a:rPr>
              <a:t>Primært indhold</a:t>
            </a:r>
          </a:p>
        </p:txBody>
      </p:sp>
    </p:spTree>
    <p:extLst>
      <p:ext uri="{BB962C8B-B14F-4D97-AF65-F5344CB8AC3E}">
        <p14:creationId xmlns:p14="http://schemas.microsoft.com/office/powerpoint/2010/main" val="287037261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) Indhold - 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22300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1190393" y="832811"/>
            <a:ext cx="15907215" cy="86213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7250" b="1">
                <a:solidFill>
                  <a:srgbClr val="FFFFFF"/>
                </a:solidFill>
              </a:rPr>
              <a:t>Nyt afsnit</a:t>
            </a:r>
          </a:p>
        </p:txBody>
      </p:sp>
    </p:spTree>
    <p:extLst>
      <p:ext uri="{BB962C8B-B14F-4D97-AF65-F5344CB8AC3E}">
        <p14:creationId xmlns:p14="http://schemas.microsoft.com/office/powerpoint/2010/main" val="30984334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B6CCC3-4B79-A846-8F97-C3D0B9F9CE3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820" y="0"/>
            <a:ext cx="18290819" cy="10287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42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9" name="Gruppe 8">
            <a:extLst>
              <a:ext uri="{FF2B5EF4-FFF2-40B4-BE49-F238E27FC236}">
                <a16:creationId xmlns:a16="http://schemas.microsoft.com/office/drawing/2014/main" id="{8A69F2F3-767B-1543-9BB3-36075B3B8957}"/>
              </a:ext>
            </a:extLst>
          </p:cNvPr>
          <p:cNvGrpSpPr/>
          <p:nvPr userDrawn="1"/>
        </p:nvGrpSpPr>
        <p:grpSpPr>
          <a:xfrm rot="17162911" flipH="1">
            <a:off x="9632951" y="3503277"/>
            <a:ext cx="1256445" cy="737250"/>
            <a:chOff x="3807407" y="1614978"/>
            <a:chExt cx="750355" cy="334433"/>
          </a:xfrm>
        </p:grpSpPr>
        <p:sp>
          <p:nvSpPr>
            <p:cNvPr id="10" name="Kombinationstegning 9">
              <a:extLst>
                <a:ext uri="{FF2B5EF4-FFF2-40B4-BE49-F238E27FC236}">
                  <a16:creationId xmlns:a16="http://schemas.microsoft.com/office/drawing/2014/main" id="{261AFC55-9A17-4A4E-B03C-2D2432500C2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F4F00D4A-85ED-1F45-9352-DB89BAE5780C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</p:spTree>
    <p:extLst>
      <p:ext uri="{BB962C8B-B14F-4D97-AF65-F5344CB8AC3E}">
        <p14:creationId xmlns:p14="http://schemas.microsoft.com/office/powerpoint/2010/main" val="22061245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577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438299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0"/>
            <a:ext cx="18288005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369307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39194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57781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8287999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978308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67907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827237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2605088"/>
            <a:ext cx="15544800" cy="64817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7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37152734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92352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65902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2"/>
            <a:ext cx="18287999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3934325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996293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8287999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569344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8288002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725065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2104322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502090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110126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8287999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846222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119362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1670173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8287997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347105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D:\Opgaver\EDC Marts 2020\Powerpointskabelon\billeder\ppt_billede_familie_paa_fremvisnin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-1"/>
            <a:ext cx="18288002" cy="10287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972593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908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211605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0"/>
            <a:ext cx="18288006" cy="102908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595103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0"/>
            <a:ext cx="18288006" cy="102908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241492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" y="0"/>
            <a:ext cx="18288006" cy="102908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754035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6" y="0"/>
            <a:ext cx="18278003" cy="10290897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00493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6" y="1"/>
            <a:ext cx="18278003" cy="10290896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767861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5" y="1"/>
            <a:ext cx="18278001" cy="10290896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218480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5" y="4760"/>
            <a:ext cx="18278001" cy="10281375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705087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534696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5397821"/>
            <a:ext cx="15544800" cy="2369072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1396062"/>
            <a:ext cx="15544800" cy="362763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78461037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6" y="4760"/>
            <a:ext cx="18278000" cy="10281375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05616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6" y="4760"/>
            <a:ext cx="18278000" cy="10281374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473330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Umage_1_video_1920x1080_7-3" descr="Umage_1_video_1920x1080_7-3">
            <a:hlinkClick r:id="" action="ppaction://media"/>
            <a:extLst>
              <a:ext uri="{FF2B5EF4-FFF2-40B4-BE49-F238E27FC236}">
                <a16:creationId xmlns:a16="http://schemas.microsoft.com/office/drawing/2014/main" id="{4AEF326F-0A5F-5A44-AF6E-474B08DBF0D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6072" y="1"/>
            <a:ext cx="18294072" cy="1030652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1034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3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Umage_1_video_1920x1080_7-4" descr="Umage_1_video_1920x1080_7-4">
            <a:hlinkClick r:id="" action="ppaction://media"/>
            <a:extLst>
              <a:ext uri="{FF2B5EF4-FFF2-40B4-BE49-F238E27FC236}">
                <a16:creationId xmlns:a16="http://schemas.microsoft.com/office/drawing/2014/main" id="{282CA72B-DAAA-2A47-B97A-964503CA2B5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945"/>
            <a:ext cx="18288000" cy="10303098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27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0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322605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yt afsn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D926263D-15B6-7E46-9D7B-3581BB98A802}"/>
              </a:ext>
            </a:extLst>
          </p:cNvPr>
          <p:cNvSpPr txBox="1"/>
          <p:nvPr userDrawn="1"/>
        </p:nvSpPr>
        <p:spPr>
          <a:xfrm>
            <a:off x="1190393" y="832811"/>
            <a:ext cx="15907215" cy="862137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da-DK" sz="17250" b="1">
                <a:solidFill>
                  <a:srgbClr val="FFFFFF"/>
                </a:solidFill>
              </a:rPr>
              <a:t>Til store sale</a:t>
            </a:r>
          </a:p>
        </p:txBody>
      </p:sp>
    </p:spTree>
    <p:extLst>
      <p:ext uri="{BB962C8B-B14F-4D97-AF65-F5344CB8AC3E}">
        <p14:creationId xmlns:p14="http://schemas.microsoft.com/office/powerpoint/2010/main" val="229598877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1) Forside - Intro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E115998-8EEC-F14C-8A06-E224BD904D23}"/>
              </a:ext>
            </a:extLst>
          </p:cNvPr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8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23401" y="1476995"/>
            <a:ext cx="2841198" cy="2816733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AE144C8-0C64-2E48-BD19-B340504ED30E}"/>
              </a:ext>
            </a:extLst>
          </p:cNvPr>
          <p:cNvSpPr/>
          <p:nvPr userDrawn="1"/>
        </p:nvSpPr>
        <p:spPr>
          <a:xfrm>
            <a:off x="0" y="10072343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02884CE6-2E01-4949-BAD6-196A401BB85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8416730"/>
            <a:ext cx="15544800" cy="616911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titel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CD9EFE38-74B0-2C43-8B3B-DBBFECFD8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0" y="6053291"/>
            <a:ext cx="15544800" cy="2205786"/>
          </a:xfrm>
        </p:spPr>
        <p:txBody>
          <a:bodyPr/>
          <a:lstStyle>
            <a:lvl1pPr>
              <a:defRPr sz="72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150EF21-A222-474E-9F0D-36BD39F2EB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66838" y="5332430"/>
            <a:ext cx="15554325" cy="626270"/>
          </a:xfrm>
        </p:spPr>
        <p:txBody>
          <a:bodyPr/>
          <a:lstStyle>
            <a:lvl1pPr marL="0" indent="0" algn="ctr">
              <a:buNone/>
              <a:defRPr sz="5400" spc="450">
                <a:solidFill>
                  <a:srgbClr val="FEC315"/>
                </a:solidFill>
                <a:latin typeface="Manus" pitchFamily="2" charset="77"/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  <a:lvl4pPr marL="2057349" indent="0">
              <a:buNone/>
              <a:defRPr/>
            </a:lvl4pPr>
            <a:lvl5pPr marL="2743133" indent="0">
              <a:buNone/>
              <a:defRPr/>
            </a:lvl5pPr>
          </a:lstStyle>
          <a:p>
            <a:pPr lvl="0"/>
            <a:r>
              <a:rPr lang="da-DK"/>
              <a:t>Klik for at redigere dato</a:t>
            </a:r>
          </a:p>
        </p:txBody>
      </p:sp>
    </p:spTree>
    <p:extLst>
      <p:ext uri="{BB962C8B-B14F-4D97-AF65-F5344CB8AC3E}">
        <p14:creationId xmlns:p14="http://schemas.microsoft.com/office/powerpoint/2010/main" val="88937792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) Indhold - Fuld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5650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3180522"/>
            <a:ext cx="15544800" cy="590632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</p:spTree>
    <p:extLst>
      <p:ext uri="{BB962C8B-B14F-4D97-AF65-F5344CB8AC3E}">
        <p14:creationId xmlns:p14="http://schemas.microsoft.com/office/powerpoint/2010/main" val="188464080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2) Indhold - Ingen 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46617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B11F932-EEFF-0F42-A8FD-A7B6C194B95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20B5FF7-064E-A440-964E-203F0CBC0C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8845951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3) Indhold - Centreret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513927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5397821"/>
            <a:ext cx="15544800" cy="2369072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1396062"/>
            <a:ext cx="15544800" cy="362763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232029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637191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1" y="3135782"/>
            <a:ext cx="7394714" cy="595106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9144000" y="3135782"/>
            <a:ext cx="7772400" cy="5951069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21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D3F494E-CD8F-B44A-B895-7802E7D87C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61361C2-35D9-DC40-ADAE-BE32D61966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7138353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) Indhold - Tekst og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906202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1371600" y="2605088"/>
            <a:ext cx="7406640" cy="6481763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AC8D221-56A1-7042-82FD-26771C9796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5" name="Pladsholder til tabel 4">
            <a:extLst>
              <a:ext uri="{FF2B5EF4-FFF2-40B4-BE49-F238E27FC236}">
                <a16:creationId xmlns:a16="http://schemas.microsoft.com/office/drawing/2014/main" id="{2EA14440-FD86-A745-9F55-041D16E11DC7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9144000" y="2605088"/>
            <a:ext cx="7772400" cy="6481763"/>
          </a:xfrm>
          <a:solidFill>
            <a:schemeClr val="bg2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0" tIns="360000" rIns="360000" bIns="360000"/>
          <a:lstStyle>
            <a:lvl1pPr>
              <a:defRPr sz="2100">
                <a:solidFill>
                  <a:schemeClr val="tx2"/>
                </a:solidFill>
              </a:defRPr>
            </a:lvl1pPr>
          </a:lstStyle>
          <a:p>
            <a:r>
              <a:rPr lang="da-DK"/>
              <a:t>Klik på ikonet for at tilføje en tabel</a:t>
            </a:r>
          </a:p>
        </p:txBody>
      </p:sp>
    </p:spTree>
    <p:extLst>
      <p:ext uri="{BB962C8B-B14F-4D97-AF65-F5344CB8AC3E}">
        <p14:creationId xmlns:p14="http://schemas.microsoft.com/office/powerpoint/2010/main" val="328485131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13123" y="716928"/>
            <a:ext cx="5861754" cy="4426572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7535537"/>
            <a:ext cx="15544800" cy="1536854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5347253"/>
            <a:ext cx="15544800" cy="196391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5272381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246024" y="2994328"/>
            <a:ext cx="5440776" cy="3319670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3246024" y="6473024"/>
            <a:ext cx="5440776" cy="793695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3246024" y="7490702"/>
            <a:ext cx="5440776" cy="1588859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601200" y="3001618"/>
            <a:ext cx="5440776" cy="3319670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601200" y="6473024"/>
            <a:ext cx="5440776" cy="800985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01200" y="7497992"/>
            <a:ext cx="5440776" cy="1588859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DCA192D-13F0-8B44-B645-43979F69C2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6CBFA1C1-882E-5645-99C0-3185EC1854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41076071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7) Indhold - T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E3B89B6-A024-B84B-A5B9-26E24133BBD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51722" y="2994327"/>
            <a:ext cx="4995312" cy="3359427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6" name="Pladsholder til tekst 3">
            <a:extLst>
              <a:ext uri="{FF2B5EF4-FFF2-40B4-BE49-F238E27FC236}">
                <a16:creationId xmlns:a16="http://schemas.microsoft.com/office/drawing/2014/main" id="{882D2D26-0C67-134D-B9A4-B8005DA09D6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1722" y="6473023"/>
            <a:ext cx="4995312" cy="803201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07DDBD85-7D34-6D4E-839C-CC15FC2869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51722" y="7490702"/>
            <a:ext cx="4995312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CC4041F-0124-C541-AFC8-AE62A127F40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626466" y="3001617"/>
            <a:ext cx="4995312" cy="3359427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Pladsholder til tekst 3">
            <a:extLst>
              <a:ext uri="{FF2B5EF4-FFF2-40B4-BE49-F238E27FC236}">
                <a16:creationId xmlns:a16="http://schemas.microsoft.com/office/drawing/2014/main" id="{7B52DD36-DC98-3D47-A0C3-A9425FAE7D4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626466" y="6473023"/>
            <a:ext cx="4995312" cy="810578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8" name="Pladsholder til tekst 3">
            <a:extLst>
              <a:ext uri="{FF2B5EF4-FFF2-40B4-BE49-F238E27FC236}">
                <a16:creationId xmlns:a16="http://schemas.microsoft.com/office/drawing/2014/main" id="{8501AE1F-28E2-7F4A-8DB5-7A5850E2F85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626466" y="7497992"/>
            <a:ext cx="4995312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B62EDF71-561A-6A44-BCF5-2D09A169B93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1901210" y="3001617"/>
            <a:ext cx="4995312" cy="3359427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D63F48F0-EB0A-1B43-95C7-3DC5C8F084A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901210" y="6473023"/>
            <a:ext cx="4995312" cy="810578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E901EA20-D2D6-1847-BAEE-155DAFB627D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1901210" y="7497992"/>
            <a:ext cx="4995312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224E5EFD-6BAF-C446-8E69-8A63CE6F13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4C9323F9-7A7F-EA45-A263-1F23E41572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9387040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8) Indhold - Fire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E7B02512-77B6-3E4D-A7FE-46004AAB3D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351722" y="2994328"/>
            <a:ext cx="3772437" cy="315811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7" name="Pladsholder til tekst 3">
            <a:extLst>
              <a:ext uri="{FF2B5EF4-FFF2-40B4-BE49-F238E27FC236}">
                <a16:creationId xmlns:a16="http://schemas.microsoft.com/office/drawing/2014/main" id="{3030EC21-C95B-AA41-BCB4-09DF2642AA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351722" y="6473023"/>
            <a:ext cx="3772437" cy="803201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18" name="Pladsholder til tekst 3">
            <a:extLst>
              <a:ext uri="{FF2B5EF4-FFF2-40B4-BE49-F238E27FC236}">
                <a16:creationId xmlns:a16="http://schemas.microsoft.com/office/drawing/2014/main" id="{AF32A35C-97F0-EF40-A200-C2393DDA49F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51722" y="7490702"/>
            <a:ext cx="3772437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47EE4D6-54EE-6B4D-94BC-576A41578E7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5279805" y="3001618"/>
            <a:ext cx="3772437" cy="315811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0" name="Pladsholder til tekst 3">
            <a:extLst>
              <a:ext uri="{FF2B5EF4-FFF2-40B4-BE49-F238E27FC236}">
                <a16:creationId xmlns:a16="http://schemas.microsoft.com/office/drawing/2014/main" id="{FC54151C-9BD2-9441-B192-9C92CA68A4D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5279805" y="6473023"/>
            <a:ext cx="3772437" cy="810578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1" name="Pladsholder til tekst 3">
            <a:extLst>
              <a:ext uri="{FF2B5EF4-FFF2-40B4-BE49-F238E27FC236}">
                <a16:creationId xmlns:a16="http://schemas.microsoft.com/office/drawing/2014/main" id="{0B9E6C6A-AE43-0C41-855D-6826155AE3D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279805" y="7497992"/>
            <a:ext cx="3772437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4B9948-AB67-514F-A195-A8D1BA9309C1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9206348" y="3001618"/>
            <a:ext cx="3772437" cy="315811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74ECA657-6A3A-1543-92C3-C61349168AA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206348" y="6473023"/>
            <a:ext cx="3772437" cy="810578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6" name="Pladsholder til tekst 3">
            <a:extLst>
              <a:ext uri="{FF2B5EF4-FFF2-40B4-BE49-F238E27FC236}">
                <a16:creationId xmlns:a16="http://schemas.microsoft.com/office/drawing/2014/main" id="{5C9C9D67-6C46-924B-AF1B-E5B807F7146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06348" y="7497992"/>
            <a:ext cx="3772437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FBB4852E-96B9-3E44-86C7-1D0B200D11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CAFE22BC-7CFF-8048-8841-439F660FF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0C59EBB3-3967-8946-9F8B-14CDF2AC3A6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3145360" y="3001618"/>
            <a:ext cx="3772437" cy="315811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0" name="Pladsholder til tekst 3">
            <a:extLst>
              <a:ext uri="{FF2B5EF4-FFF2-40B4-BE49-F238E27FC236}">
                <a16:creationId xmlns:a16="http://schemas.microsoft.com/office/drawing/2014/main" id="{77BB1D31-72DA-2342-B1B2-2962322C16C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3145360" y="6473023"/>
            <a:ext cx="3772437" cy="810578"/>
          </a:xfrm>
        </p:spPr>
        <p:txBody>
          <a:bodyPr anchor="b">
            <a:noAutofit/>
          </a:bodyPr>
          <a:lstStyle>
            <a:lvl1pPr marL="0" indent="0" algn="ctr">
              <a:buNone/>
              <a:defRPr sz="36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31" name="Pladsholder til tekst 3">
            <a:extLst>
              <a:ext uri="{FF2B5EF4-FFF2-40B4-BE49-F238E27FC236}">
                <a16:creationId xmlns:a16="http://schemas.microsoft.com/office/drawing/2014/main" id="{8B92E519-CB80-BC42-9A99-69D17D0546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45360" y="7497992"/>
            <a:ext cx="3772437" cy="1607888"/>
          </a:xfrm>
        </p:spPr>
        <p:txBody>
          <a:bodyPr/>
          <a:lstStyle>
            <a:lvl1pPr marL="0" indent="0" algn="ctr">
              <a:buNone/>
              <a:defRPr sz="30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8242472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9) Indhold - venst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415576" y="1685582"/>
            <a:ext cx="6858000" cy="708935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791459" y="5883007"/>
            <a:ext cx="7118489" cy="2561423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91459" y="2495317"/>
            <a:ext cx="7535540" cy="283281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2646313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0) Indhold - højrestillet billede med budska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9939900" y="1685582"/>
            <a:ext cx="6858000" cy="7089354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05512" y="5883007"/>
            <a:ext cx="7118489" cy="2561423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5512" y="2495317"/>
            <a:ext cx="7535540" cy="283281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7273746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1) Indhold - billedekollag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371602" y="3029993"/>
            <a:ext cx="4195482" cy="584203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659292" y="3029993"/>
            <a:ext cx="4195482" cy="299509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9946981" y="3029993"/>
            <a:ext cx="6969419" cy="299509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946981" y="6134794"/>
            <a:ext cx="6969419" cy="2737232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669606" y="6134793"/>
            <a:ext cx="4195482" cy="27403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04F7A2D-1D60-924D-8691-343C17E54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22696" y="6456091"/>
            <a:ext cx="3293894" cy="2139275"/>
          </a:xfrm>
        </p:spPr>
        <p:txBody>
          <a:bodyPr wrap="squar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34353D1-F63C-274C-A2AA-4931139C8A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197B0DB-59BC-5C4E-A85E-E3E4C17531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382867270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2) Indhold - billedekollage med 6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414018" y="3046296"/>
            <a:ext cx="4195482" cy="301610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1" y="3046296"/>
            <a:ext cx="6969419" cy="301610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5417243" y="6147955"/>
            <a:ext cx="7192257" cy="264275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2682498" y="3046296"/>
            <a:ext cx="4233900" cy="301610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1371600" y="6147955"/>
            <a:ext cx="3953436" cy="264275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12682498" y="6147955"/>
            <a:ext cx="4233900" cy="2642756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433FED9-97B9-584F-A6D1-ED3735AFE1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4EC77A8-1058-604D-AA07-79EB3B6DF0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177198968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3) Indhold - billedekollage med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414018" y="3054930"/>
            <a:ext cx="4195482" cy="305744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371601" y="3054931"/>
            <a:ext cx="6969419" cy="590437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12682498" y="3054930"/>
            <a:ext cx="4233900" cy="305744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8414018" y="6209608"/>
            <a:ext cx="8502381" cy="2749700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71244420-0C1D-A54B-9BEA-A64234EE08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2093237"/>
            <a:ext cx="15544800" cy="530694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66A353E-08D4-944F-B5D4-CA3495E1A8C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767269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7120914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4) Indhold - venst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4D84763A-749E-DF4C-B99D-871E993C554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601200" y="4202941"/>
            <a:ext cx="7315200" cy="796133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B8FC78A-CE27-2940-BE8B-96410FE597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01200" y="760619"/>
            <a:ext cx="7315200" cy="321546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B7C381B9-37D6-3045-BDBA-382AE7942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01200" y="5573688"/>
            <a:ext cx="7315200" cy="366591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7226904-5333-1643-A028-C32C08635BC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280674"/>
            <a:ext cx="8175702" cy="10006325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710307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) Indhold - Et emn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6213123" y="716927"/>
            <a:ext cx="5861754" cy="4916273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7535537"/>
            <a:ext cx="15544800" cy="1536854"/>
          </a:xfrm>
        </p:spPr>
        <p:txBody>
          <a:bodyPr wrap="square" anchor="t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5745384"/>
            <a:ext cx="15544800" cy="15657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251542020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15) Indhold - højrestillet billede til k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10134600" y="275379"/>
            <a:ext cx="8153400" cy="10011621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27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03205F-5AF1-8C44-8C5D-FA8E93654D7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86840" y="4202941"/>
            <a:ext cx="7315200" cy="796133"/>
          </a:xfrm>
        </p:spPr>
        <p:txBody>
          <a:bodyPr wrap="none" anchor="t" anchorCtr="0">
            <a:noAutofit/>
          </a:bodyPr>
          <a:lstStyle>
            <a:lvl1pPr marL="0" indent="0" algn="l">
              <a:buNone/>
              <a:defRPr lang="da-DK" sz="42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2C7903EA-DB60-B04D-98D6-FBA25BBCDE5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86840" y="5573688"/>
            <a:ext cx="7315200" cy="366591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4200"/>
            </a:lvl1pPr>
            <a:lvl3pPr marL="1371566" indent="0">
              <a:buNone/>
              <a:defRPr/>
            </a:lvl3pPr>
          </a:lstStyle>
          <a:p>
            <a:pPr lvl="0"/>
            <a:r>
              <a:rPr lang="da-DK" noProof="0"/>
              <a:t>Klik for at redigere i indholdstekst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54F9CDD-2960-D043-9561-8FBD8B17D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86840" y="760619"/>
            <a:ext cx="7315200" cy="321546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7200"/>
            </a:lvl1pPr>
          </a:lstStyle>
          <a:p>
            <a:r>
              <a:rPr lang="da-DK" noProof="0"/>
              <a:t>Klik for at redigere overskrift</a:t>
            </a:r>
          </a:p>
        </p:txBody>
      </p:sp>
    </p:spTree>
    <p:extLst>
      <p:ext uri="{BB962C8B-B14F-4D97-AF65-F5344CB8AC3E}">
        <p14:creationId xmlns:p14="http://schemas.microsoft.com/office/powerpoint/2010/main" val="8752598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0) Nyt afsnit - Mellemslide (indsæt bille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BCF49B0B-A67E-0347-B3E2-E981321E0A3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820" y="0"/>
            <a:ext cx="18290819" cy="10287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18 w 12192018"/>
              <a:gd name="connsiteY0" fmla="*/ 0 h 6858000"/>
              <a:gd name="connsiteX1" fmla="*/ 12192018 w 12192018"/>
              <a:gd name="connsiteY1" fmla="*/ 0 h 6858000"/>
              <a:gd name="connsiteX2" fmla="*/ 12192018 w 12192018"/>
              <a:gd name="connsiteY2" fmla="*/ 6858000 h 6858000"/>
              <a:gd name="connsiteX3" fmla="*/ 18 w 12192018"/>
              <a:gd name="connsiteY3" fmla="*/ 6858000 h 6858000"/>
              <a:gd name="connsiteX4" fmla="*/ 2377458 w 12192018"/>
              <a:gd name="connsiteY4" fmla="*/ 2971800 h 6858000"/>
              <a:gd name="connsiteX5" fmla="*/ 18 w 12192018"/>
              <a:gd name="connsiteY5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3115657 w 12930217"/>
              <a:gd name="connsiteY5" fmla="*/ 2971800 h 6858000"/>
              <a:gd name="connsiteX6" fmla="*/ 738217 w 12930217"/>
              <a:gd name="connsiteY6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3115657 w 12930217"/>
              <a:gd name="connsiteY6" fmla="*/ 2971800 h 6858000"/>
              <a:gd name="connsiteX7" fmla="*/ 738217 w 12930217"/>
              <a:gd name="connsiteY7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3115657 w 12930217"/>
              <a:gd name="connsiteY7" fmla="*/ 29718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738217 w 12930217"/>
              <a:gd name="connsiteY0" fmla="*/ 0 h 6858000"/>
              <a:gd name="connsiteX1" fmla="*/ 12930217 w 12930217"/>
              <a:gd name="connsiteY1" fmla="*/ 0 h 6858000"/>
              <a:gd name="connsiteX2" fmla="*/ 12930217 w 12930217"/>
              <a:gd name="connsiteY2" fmla="*/ 6858000 h 6858000"/>
              <a:gd name="connsiteX3" fmla="*/ 738217 w 12930217"/>
              <a:gd name="connsiteY3" fmla="*/ 6858000 h 6858000"/>
              <a:gd name="connsiteX4" fmla="*/ 1732627 w 12930217"/>
              <a:gd name="connsiteY4" fmla="*/ 5932170 h 6858000"/>
              <a:gd name="connsiteX5" fmla="*/ 6956138 w 12930217"/>
              <a:gd name="connsiteY5" fmla="*/ 5772150 h 6858000"/>
              <a:gd name="connsiteX6" fmla="*/ 7984838 w 12930217"/>
              <a:gd name="connsiteY6" fmla="*/ 3086100 h 6858000"/>
              <a:gd name="connsiteX7" fmla="*/ 749647 w 12930217"/>
              <a:gd name="connsiteY7" fmla="*/ 3086100 h 6858000"/>
              <a:gd name="connsiteX8" fmla="*/ 738217 w 12930217"/>
              <a:gd name="connsiteY8" fmla="*/ 0 h 6858000"/>
              <a:gd name="connsiteX0" fmla="*/ 849833 w 13041833"/>
              <a:gd name="connsiteY0" fmla="*/ 0 h 6858000"/>
              <a:gd name="connsiteX1" fmla="*/ 13041833 w 13041833"/>
              <a:gd name="connsiteY1" fmla="*/ 0 h 6858000"/>
              <a:gd name="connsiteX2" fmla="*/ 13041833 w 13041833"/>
              <a:gd name="connsiteY2" fmla="*/ 6858000 h 6858000"/>
              <a:gd name="connsiteX3" fmla="*/ 849833 w 13041833"/>
              <a:gd name="connsiteY3" fmla="*/ 6858000 h 6858000"/>
              <a:gd name="connsiteX4" fmla="*/ 1307033 w 13041833"/>
              <a:gd name="connsiteY4" fmla="*/ 5829300 h 6858000"/>
              <a:gd name="connsiteX5" fmla="*/ 7067754 w 13041833"/>
              <a:gd name="connsiteY5" fmla="*/ 5772150 h 6858000"/>
              <a:gd name="connsiteX6" fmla="*/ 8096454 w 13041833"/>
              <a:gd name="connsiteY6" fmla="*/ 3086100 h 6858000"/>
              <a:gd name="connsiteX7" fmla="*/ 861263 w 13041833"/>
              <a:gd name="connsiteY7" fmla="*/ 3086100 h 6858000"/>
              <a:gd name="connsiteX8" fmla="*/ 849833 w 13041833"/>
              <a:gd name="connsiteY8" fmla="*/ 0 h 6858000"/>
              <a:gd name="connsiteX0" fmla="*/ 796095 w 12988095"/>
              <a:gd name="connsiteY0" fmla="*/ 0 h 6858000"/>
              <a:gd name="connsiteX1" fmla="*/ 12988095 w 12988095"/>
              <a:gd name="connsiteY1" fmla="*/ 0 h 6858000"/>
              <a:gd name="connsiteX2" fmla="*/ 12988095 w 12988095"/>
              <a:gd name="connsiteY2" fmla="*/ 6858000 h 6858000"/>
              <a:gd name="connsiteX3" fmla="*/ 796095 w 12988095"/>
              <a:gd name="connsiteY3" fmla="*/ 6858000 h 6858000"/>
              <a:gd name="connsiteX4" fmla="*/ 1253295 w 12988095"/>
              <a:gd name="connsiteY4" fmla="*/ 5829300 h 6858000"/>
              <a:gd name="connsiteX5" fmla="*/ 7014016 w 12988095"/>
              <a:gd name="connsiteY5" fmla="*/ 5772150 h 6858000"/>
              <a:gd name="connsiteX6" fmla="*/ 8042716 w 12988095"/>
              <a:gd name="connsiteY6" fmla="*/ 3086100 h 6858000"/>
              <a:gd name="connsiteX7" fmla="*/ 807525 w 12988095"/>
              <a:gd name="connsiteY7" fmla="*/ 3086100 h 6858000"/>
              <a:gd name="connsiteX8" fmla="*/ 796095 w 12988095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457200 w 12192000"/>
              <a:gd name="connsiteY4" fmla="*/ 582930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45732 w 12237732"/>
              <a:gd name="connsiteY0" fmla="*/ 0 h 6858000"/>
              <a:gd name="connsiteX1" fmla="*/ 12237732 w 12237732"/>
              <a:gd name="connsiteY1" fmla="*/ 0 h 6858000"/>
              <a:gd name="connsiteX2" fmla="*/ 12237732 w 12237732"/>
              <a:gd name="connsiteY2" fmla="*/ 6858000 h 6858000"/>
              <a:gd name="connsiteX3" fmla="*/ 45732 w 12237732"/>
              <a:gd name="connsiteY3" fmla="*/ 6858000 h 6858000"/>
              <a:gd name="connsiteX4" fmla="*/ 57162 w 12237732"/>
              <a:gd name="connsiteY4" fmla="*/ 5806440 h 6858000"/>
              <a:gd name="connsiteX5" fmla="*/ 6263653 w 12237732"/>
              <a:gd name="connsiteY5" fmla="*/ 5772150 h 6858000"/>
              <a:gd name="connsiteX6" fmla="*/ 7292353 w 12237732"/>
              <a:gd name="connsiteY6" fmla="*/ 3086100 h 6858000"/>
              <a:gd name="connsiteX7" fmla="*/ 57162 w 12237732"/>
              <a:gd name="connsiteY7" fmla="*/ 3086100 h 6858000"/>
              <a:gd name="connsiteX8" fmla="*/ 45732 w 12237732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6217921 w 12192000"/>
              <a:gd name="connsiteY5" fmla="*/ 577215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11430 w 12192000"/>
              <a:gd name="connsiteY4" fmla="*/ 5806440 h 6858000"/>
              <a:gd name="connsiteX5" fmla="*/ 7223761 w 12192000"/>
              <a:gd name="connsiteY5" fmla="*/ 5806440 h 6858000"/>
              <a:gd name="connsiteX6" fmla="*/ 7246621 w 12192000"/>
              <a:gd name="connsiteY6" fmla="*/ 3086100 h 6858000"/>
              <a:gd name="connsiteX7" fmla="*/ 11430 w 12192000"/>
              <a:gd name="connsiteY7" fmla="*/ 3086100 h 6858000"/>
              <a:gd name="connsiteX8" fmla="*/ 0 w 1219200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12700 w 12193270"/>
              <a:gd name="connsiteY4" fmla="*/ 580644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270 w 12193270"/>
              <a:gd name="connsiteY0" fmla="*/ 0 h 6858000"/>
              <a:gd name="connsiteX1" fmla="*/ 12193270 w 12193270"/>
              <a:gd name="connsiteY1" fmla="*/ 0 h 6858000"/>
              <a:gd name="connsiteX2" fmla="*/ 12193270 w 12193270"/>
              <a:gd name="connsiteY2" fmla="*/ 6858000 h 6858000"/>
              <a:gd name="connsiteX3" fmla="*/ 1270 w 12193270"/>
              <a:gd name="connsiteY3" fmla="*/ 6858000 h 6858000"/>
              <a:gd name="connsiteX4" fmla="*/ 6350 w 12193270"/>
              <a:gd name="connsiteY4" fmla="*/ 5825490 h 6858000"/>
              <a:gd name="connsiteX5" fmla="*/ 7225031 w 12193270"/>
              <a:gd name="connsiteY5" fmla="*/ 5806440 h 6858000"/>
              <a:gd name="connsiteX6" fmla="*/ 7247891 w 12193270"/>
              <a:gd name="connsiteY6" fmla="*/ 3086100 h 6858000"/>
              <a:gd name="connsiteX7" fmla="*/ 0 w 12193270"/>
              <a:gd name="connsiteY7" fmla="*/ 3092450 h 6858000"/>
              <a:gd name="connsiteX8" fmla="*/ 1270 w 12193270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25640 w 12193879"/>
              <a:gd name="connsiteY5" fmla="*/ 580644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8500 w 12193879"/>
              <a:gd name="connsiteY6" fmla="*/ 308610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45325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51040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4850 w 12193879"/>
              <a:gd name="connsiteY6" fmla="*/ 3092450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2549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  <a:gd name="connsiteX0" fmla="*/ 1879 w 12193879"/>
              <a:gd name="connsiteY0" fmla="*/ 0 h 6858000"/>
              <a:gd name="connsiteX1" fmla="*/ 12193879 w 12193879"/>
              <a:gd name="connsiteY1" fmla="*/ 0 h 6858000"/>
              <a:gd name="connsiteX2" fmla="*/ 12193879 w 12193879"/>
              <a:gd name="connsiteY2" fmla="*/ 6858000 h 6858000"/>
              <a:gd name="connsiteX3" fmla="*/ 1879 w 12193879"/>
              <a:gd name="connsiteY3" fmla="*/ 6858000 h 6858000"/>
              <a:gd name="connsiteX4" fmla="*/ 3784 w 12193879"/>
              <a:gd name="connsiteY4" fmla="*/ 5822315 h 6858000"/>
              <a:gd name="connsiteX5" fmla="*/ 7247865 w 12193879"/>
              <a:gd name="connsiteY5" fmla="*/ 5819140 h 6858000"/>
              <a:gd name="connsiteX6" fmla="*/ 7251675 w 12193879"/>
              <a:gd name="connsiteY6" fmla="*/ 3089275 h 6858000"/>
              <a:gd name="connsiteX7" fmla="*/ 609 w 12193879"/>
              <a:gd name="connsiteY7" fmla="*/ 3092450 h 6858000"/>
              <a:gd name="connsiteX8" fmla="*/ 1879 w 12193879"/>
              <a:gd name="connsiteY8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3879" h="6858000">
                <a:moveTo>
                  <a:pt x="1879" y="0"/>
                </a:moveTo>
                <a:lnTo>
                  <a:pt x="12193879" y="0"/>
                </a:lnTo>
                <a:lnTo>
                  <a:pt x="12193879" y="6858000"/>
                </a:lnTo>
                <a:lnTo>
                  <a:pt x="1879" y="6858000"/>
                </a:lnTo>
                <a:cubicBezTo>
                  <a:pt x="2514" y="6059805"/>
                  <a:pt x="-3836" y="6492875"/>
                  <a:pt x="3784" y="5822315"/>
                </a:cubicBezTo>
                <a:lnTo>
                  <a:pt x="7247865" y="5819140"/>
                </a:lnTo>
                <a:cubicBezTo>
                  <a:pt x="7250405" y="4772660"/>
                  <a:pt x="7247230" y="4008755"/>
                  <a:pt x="7251675" y="3089275"/>
                </a:cubicBezTo>
                <a:lnTo>
                  <a:pt x="609" y="3092450"/>
                </a:lnTo>
                <a:cubicBezTo>
                  <a:pt x="1032" y="2061633"/>
                  <a:pt x="1456" y="1030817"/>
                  <a:pt x="1879" y="0"/>
                </a:cubicBezTo>
                <a:close/>
              </a:path>
            </a:pathLst>
          </a:custGeom>
          <a:noFill/>
          <a:effectLst/>
        </p:spPr>
        <p:txBody>
          <a:bodyPr tIns="1692000" anchor="t">
            <a:normAutofit/>
          </a:bodyPr>
          <a:lstStyle>
            <a:lvl1pPr marL="0" indent="0" algn="ctr">
              <a:lnSpc>
                <a:spcPct val="100000"/>
              </a:lnSpc>
              <a:buNone/>
              <a:defRPr sz="4200" b="0" baseline="0">
                <a:latin typeface="+mj-lt"/>
              </a:defRPr>
            </a:lvl1pPr>
          </a:lstStyle>
          <a:p>
            <a:r>
              <a:rPr lang="en-US" err="1"/>
              <a:t>Indsæt</a:t>
            </a:r>
            <a:r>
              <a:rPr lang="en-US"/>
              <a:t> </a:t>
            </a:r>
            <a:r>
              <a:rPr lang="en-US" err="1"/>
              <a:t>billiede</a:t>
            </a:r>
            <a:r>
              <a:rPr lang="en-US"/>
              <a:t>, </a:t>
            </a:r>
            <a:r>
              <a:rPr lang="en-US" err="1"/>
              <a:t>klik</a:t>
            </a:r>
            <a:r>
              <a:rPr lang="en-US"/>
              <a:t> her</a:t>
            </a:r>
          </a:p>
        </p:txBody>
      </p:sp>
      <p:grpSp>
        <p:nvGrpSpPr>
          <p:cNvPr id="10" name="Gruppe 9">
            <a:extLst>
              <a:ext uri="{FF2B5EF4-FFF2-40B4-BE49-F238E27FC236}">
                <a16:creationId xmlns:a16="http://schemas.microsoft.com/office/drawing/2014/main" id="{6A1B4D00-31DD-DC4B-AFF0-EF1A65F4B3C9}"/>
              </a:ext>
            </a:extLst>
          </p:cNvPr>
          <p:cNvGrpSpPr/>
          <p:nvPr userDrawn="1"/>
        </p:nvGrpSpPr>
        <p:grpSpPr>
          <a:xfrm rot="17162911" flipH="1">
            <a:off x="9632951" y="3503277"/>
            <a:ext cx="1256445" cy="737250"/>
            <a:chOff x="3807407" y="1614978"/>
            <a:chExt cx="750355" cy="334433"/>
          </a:xfrm>
        </p:grpSpPr>
        <p:sp>
          <p:nvSpPr>
            <p:cNvPr id="11" name="Kombinationstegning 10">
              <a:extLst>
                <a:ext uri="{FF2B5EF4-FFF2-40B4-BE49-F238E27FC236}">
                  <a16:creationId xmlns:a16="http://schemas.microsoft.com/office/drawing/2014/main" id="{8133E8D6-A266-494A-9802-FFC988866083}"/>
                </a:ext>
              </a:extLst>
            </p:cNvPr>
            <p:cNvSpPr/>
            <p:nvPr/>
          </p:nvSpPr>
          <p:spPr>
            <a:xfrm>
              <a:off x="3807407" y="1651138"/>
              <a:ext cx="674427" cy="298273"/>
            </a:xfrm>
            <a:custGeom>
              <a:avLst/>
              <a:gdLst>
                <a:gd name="connsiteX0" fmla="*/ 161131 w 674427"/>
                <a:gd name="connsiteY0" fmla="*/ 238844 h 298273"/>
                <a:gd name="connsiteX1" fmla="*/ 163986 w 674427"/>
                <a:gd name="connsiteY1" fmla="*/ 237892 h 298273"/>
                <a:gd name="connsiteX2" fmla="*/ 136381 w 674427"/>
                <a:gd name="connsiteY2" fmla="*/ 250263 h 298273"/>
                <a:gd name="connsiteX3" fmla="*/ 194447 w 674427"/>
                <a:gd name="connsiteY3" fmla="*/ 220764 h 298273"/>
                <a:gd name="connsiteX4" fmla="*/ 218245 w 674427"/>
                <a:gd name="connsiteY4" fmla="*/ 216006 h 298273"/>
                <a:gd name="connsiteX5" fmla="*/ 229667 w 674427"/>
                <a:gd name="connsiteY5" fmla="*/ 208394 h 298273"/>
                <a:gd name="connsiteX6" fmla="*/ 222052 w 674427"/>
                <a:gd name="connsiteY6" fmla="*/ 213152 h 298273"/>
                <a:gd name="connsiteX7" fmla="*/ 229667 w 674427"/>
                <a:gd name="connsiteY7" fmla="*/ 208394 h 298273"/>
                <a:gd name="connsiteX8" fmla="*/ 313435 w 674427"/>
                <a:gd name="connsiteY8" fmla="*/ 169379 h 298273"/>
                <a:gd name="connsiteX9" fmla="*/ 392442 w 674427"/>
                <a:gd name="connsiteY9" fmla="*/ 137978 h 298273"/>
                <a:gd name="connsiteX10" fmla="*/ 400057 w 674427"/>
                <a:gd name="connsiteY10" fmla="*/ 135123 h 298273"/>
                <a:gd name="connsiteX11" fmla="*/ 391490 w 674427"/>
                <a:gd name="connsiteY11" fmla="*/ 137978 h 298273"/>
                <a:gd name="connsiteX12" fmla="*/ 418144 w 674427"/>
                <a:gd name="connsiteY12" fmla="*/ 121801 h 298273"/>
                <a:gd name="connsiteX13" fmla="*/ 411480 w 674427"/>
                <a:gd name="connsiteY13" fmla="*/ 121801 h 298273"/>
                <a:gd name="connsiteX14" fmla="*/ 416240 w 674427"/>
                <a:gd name="connsiteY14" fmla="*/ 119898 h 298273"/>
                <a:gd name="connsiteX15" fmla="*/ 433374 w 674427"/>
                <a:gd name="connsiteY15" fmla="*/ 109430 h 298273"/>
                <a:gd name="connsiteX16" fmla="*/ 440037 w 674427"/>
                <a:gd name="connsiteY16" fmla="*/ 108479 h 298273"/>
                <a:gd name="connsiteX17" fmla="*/ 438133 w 674427"/>
                <a:gd name="connsiteY17" fmla="*/ 108479 h 298273"/>
                <a:gd name="connsiteX18" fmla="*/ 474306 w 674427"/>
                <a:gd name="connsiteY18" fmla="*/ 92302 h 298273"/>
                <a:gd name="connsiteX19" fmla="*/ 478113 w 674427"/>
                <a:gd name="connsiteY19" fmla="*/ 91351 h 298273"/>
                <a:gd name="connsiteX20" fmla="*/ 488584 w 674427"/>
                <a:gd name="connsiteY20" fmla="*/ 86593 h 298273"/>
                <a:gd name="connsiteX21" fmla="*/ 493344 w 674427"/>
                <a:gd name="connsiteY21" fmla="*/ 87544 h 298273"/>
                <a:gd name="connsiteX22" fmla="*/ 515237 w 674427"/>
                <a:gd name="connsiteY22" fmla="*/ 76126 h 298273"/>
                <a:gd name="connsiteX23" fmla="*/ 555217 w 674427"/>
                <a:gd name="connsiteY23" fmla="*/ 58997 h 298273"/>
                <a:gd name="connsiteX24" fmla="*/ 596149 w 674427"/>
                <a:gd name="connsiteY24" fmla="*/ 40917 h 298273"/>
                <a:gd name="connsiteX25" fmla="*/ 595197 w 674427"/>
                <a:gd name="connsiteY25" fmla="*/ 40917 h 298273"/>
                <a:gd name="connsiteX26" fmla="*/ 624706 w 674427"/>
                <a:gd name="connsiteY26" fmla="*/ 27596 h 298273"/>
                <a:gd name="connsiteX27" fmla="*/ 646599 w 674427"/>
                <a:gd name="connsiteY27" fmla="*/ 14274 h 298273"/>
                <a:gd name="connsiteX28" fmla="*/ 669445 w 674427"/>
                <a:gd name="connsiteY28" fmla="*/ 4758 h 298273"/>
                <a:gd name="connsiteX29" fmla="*/ 673253 w 674427"/>
                <a:gd name="connsiteY29" fmla="*/ 0 h 298273"/>
                <a:gd name="connsiteX30" fmla="*/ 659926 w 674427"/>
                <a:gd name="connsiteY30" fmla="*/ 1903 h 298273"/>
                <a:gd name="connsiteX31" fmla="*/ 659926 w 674427"/>
                <a:gd name="connsiteY31" fmla="*/ 1903 h 298273"/>
                <a:gd name="connsiteX32" fmla="*/ 581870 w 674427"/>
                <a:gd name="connsiteY32" fmla="*/ 23789 h 298273"/>
                <a:gd name="connsiteX33" fmla="*/ 528564 w 674427"/>
                <a:gd name="connsiteY33" fmla="*/ 44724 h 298273"/>
                <a:gd name="connsiteX34" fmla="*/ 474306 w 674427"/>
                <a:gd name="connsiteY34" fmla="*/ 69465 h 298273"/>
                <a:gd name="connsiteX35" fmla="*/ 463835 w 674427"/>
                <a:gd name="connsiteY35" fmla="*/ 72319 h 298273"/>
                <a:gd name="connsiteX36" fmla="*/ 414336 w 674427"/>
                <a:gd name="connsiteY36" fmla="*/ 94205 h 298273"/>
                <a:gd name="connsiteX37" fmla="*/ 415288 w 674427"/>
                <a:gd name="connsiteY37" fmla="*/ 94205 h 298273"/>
                <a:gd name="connsiteX38" fmla="*/ 390538 w 674427"/>
                <a:gd name="connsiteY38" fmla="*/ 103721 h 298273"/>
                <a:gd name="connsiteX39" fmla="*/ 388635 w 674427"/>
                <a:gd name="connsiteY39" fmla="*/ 105624 h 298273"/>
                <a:gd name="connsiteX40" fmla="*/ 336280 w 674427"/>
                <a:gd name="connsiteY40" fmla="*/ 132268 h 298273"/>
                <a:gd name="connsiteX41" fmla="*/ 333424 w 674427"/>
                <a:gd name="connsiteY41" fmla="*/ 134171 h 298273"/>
                <a:gd name="connsiteX42" fmla="*/ 280118 w 674427"/>
                <a:gd name="connsiteY42" fmla="*/ 154154 h 298273"/>
                <a:gd name="connsiteX43" fmla="*/ 271551 w 674427"/>
                <a:gd name="connsiteY43" fmla="*/ 161767 h 298273"/>
                <a:gd name="connsiteX44" fmla="*/ 264888 w 674427"/>
                <a:gd name="connsiteY44" fmla="*/ 165573 h 298273"/>
                <a:gd name="connsiteX45" fmla="*/ 255369 w 674427"/>
                <a:gd name="connsiteY45" fmla="*/ 169379 h 298273"/>
                <a:gd name="connsiteX46" fmla="*/ 235379 w 674427"/>
                <a:gd name="connsiteY46" fmla="*/ 178895 h 298273"/>
                <a:gd name="connsiteX47" fmla="*/ 227764 w 674427"/>
                <a:gd name="connsiteY47" fmla="*/ 183653 h 298273"/>
                <a:gd name="connsiteX48" fmla="*/ 222052 w 674427"/>
                <a:gd name="connsiteY48" fmla="*/ 184604 h 298273"/>
                <a:gd name="connsiteX49" fmla="*/ 210629 w 674427"/>
                <a:gd name="connsiteY49" fmla="*/ 189362 h 298273"/>
                <a:gd name="connsiteX50" fmla="*/ 193495 w 674427"/>
                <a:gd name="connsiteY50" fmla="*/ 199829 h 298273"/>
                <a:gd name="connsiteX51" fmla="*/ 194447 w 674427"/>
                <a:gd name="connsiteY51" fmla="*/ 198878 h 298273"/>
                <a:gd name="connsiteX52" fmla="*/ 173505 w 674427"/>
                <a:gd name="connsiteY52" fmla="*/ 205539 h 298273"/>
                <a:gd name="connsiteX53" fmla="*/ 112584 w 674427"/>
                <a:gd name="connsiteY53" fmla="*/ 235038 h 298273"/>
                <a:gd name="connsiteX54" fmla="*/ 117343 w 674427"/>
                <a:gd name="connsiteY54" fmla="*/ 234086 h 298273"/>
                <a:gd name="connsiteX55" fmla="*/ 83075 w 674427"/>
                <a:gd name="connsiteY55" fmla="*/ 248360 h 298273"/>
                <a:gd name="connsiteX56" fmla="*/ 77363 w 674427"/>
                <a:gd name="connsiteY56" fmla="*/ 249311 h 298273"/>
                <a:gd name="connsiteX57" fmla="*/ 72604 w 674427"/>
                <a:gd name="connsiteY57" fmla="*/ 252166 h 298273"/>
                <a:gd name="connsiteX58" fmla="*/ 71652 w 674427"/>
                <a:gd name="connsiteY58" fmla="*/ 251214 h 298273"/>
                <a:gd name="connsiteX59" fmla="*/ 62133 w 674427"/>
                <a:gd name="connsiteY59" fmla="*/ 255021 h 298273"/>
                <a:gd name="connsiteX60" fmla="*/ 59277 w 674427"/>
                <a:gd name="connsiteY60" fmla="*/ 256924 h 298273"/>
                <a:gd name="connsiteX61" fmla="*/ 55470 w 674427"/>
                <a:gd name="connsiteY61" fmla="*/ 257875 h 298273"/>
                <a:gd name="connsiteX62" fmla="*/ 55470 w 674427"/>
                <a:gd name="connsiteY62" fmla="*/ 257875 h 298273"/>
                <a:gd name="connsiteX63" fmla="*/ 53566 w 674427"/>
                <a:gd name="connsiteY63" fmla="*/ 258827 h 298273"/>
                <a:gd name="connsiteX64" fmla="*/ 39287 w 674427"/>
                <a:gd name="connsiteY64" fmla="*/ 271197 h 298273"/>
                <a:gd name="connsiteX65" fmla="*/ 38335 w 674427"/>
                <a:gd name="connsiteY65" fmla="*/ 271197 h 298273"/>
                <a:gd name="connsiteX66" fmla="*/ 37384 w 674427"/>
                <a:gd name="connsiteY66" fmla="*/ 273100 h 298273"/>
                <a:gd name="connsiteX67" fmla="*/ 34528 w 674427"/>
                <a:gd name="connsiteY67" fmla="*/ 274052 h 298273"/>
                <a:gd name="connsiteX68" fmla="*/ 34528 w 674427"/>
                <a:gd name="connsiteY68" fmla="*/ 274052 h 298273"/>
                <a:gd name="connsiteX69" fmla="*/ 31672 w 674427"/>
                <a:gd name="connsiteY69" fmla="*/ 275004 h 298273"/>
                <a:gd name="connsiteX70" fmla="*/ 30720 w 674427"/>
                <a:gd name="connsiteY70" fmla="*/ 274052 h 298273"/>
                <a:gd name="connsiteX71" fmla="*/ 26913 w 674427"/>
                <a:gd name="connsiteY71" fmla="*/ 276907 h 298273"/>
                <a:gd name="connsiteX72" fmla="*/ 41191 w 674427"/>
                <a:gd name="connsiteY72" fmla="*/ 274052 h 298273"/>
                <a:gd name="connsiteX73" fmla="*/ 34528 w 674427"/>
                <a:gd name="connsiteY73" fmla="*/ 276907 h 298273"/>
                <a:gd name="connsiteX74" fmla="*/ 23105 w 674427"/>
                <a:gd name="connsiteY74" fmla="*/ 279761 h 298273"/>
                <a:gd name="connsiteX75" fmla="*/ 20249 w 674427"/>
                <a:gd name="connsiteY75" fmla="*/ 281664 h 298273"/>
                <a:gd name="connsiteX76" fmla="*/ 16442 w 674427"/>
                <a:gd name="connsiteY76" fmla="*/ 282616 h 298273"/>
                <a:gd name="connsiteX77" fmla="*/ 21201 w 674427"/>
                <a:gd name="connsiteY77" fmla="*/ 279761 h 298273"/>
                <a:gd name="connsiteX78" fmla="*/ 15490 w 674427"/>
                <a:gd name="connsiteY78" fmla="*/ 281664 h 298273"/>
                <a:gd name="connsiteX79" fmla="*/ 9778 w 674427"/>
                <a:gd name="connsiteY79" fmla="*/ 284519 h 298273"/>
                <a:gd name="connsiteX80" fmla="*/ 5971 w 674427"/>
                <a:gd name="connsiteY80" fmla="*/ 284519 h 298273"/>
                <a:gd name="connsiteX81" fmla="*/ 5019 w 674427"/>
                <a:gd name="connsiteY81" fmla="*/ 286422 h 298273"/>
                <a:gd name="connsiteX82" fmla="*/ 9778 w 674427"/>
                <a:gd name="connsiteY82" fmla="*/ 286422 h 298273"/>
                <a:gd name="connsiteX83" fmla="*/ 5019 w 674427"/>
                <a:gd name="connsiteY83" fmla="*/ 288325 h 298273"/>
                <a:gd name="connsiteX84" fmla="*/ 5971 w 674427"/>
                <a:gd name="connsiteY84" fmla="*/ 289277 h 298273"/>
                <a:gd name="connsiteX85" fmla="*/ 1211 w 674427"/>
                <a:gd name="connsiteY85" fmla="*/ 291180 h 298273"/>
                <a:gd name="connsiteX86" fmla="*/ 2163 w 674427"/>
                <a:gd name="connsiteY86" fmla="*/ 290229 h 298273"/>
                <a:gd name="connsiteX87" fmla="*/ 8827 w 674427"/>
                <a:gd name="connsiteY87" fmla="*/ 281664 h 298273"/>
                <a:gd name="connsiteX88" fmla="*/ 259 w 674427"/>
                <a:gd name="connsiteY88" fmla="*/ 291180 h 298273"/>
                <a:gd name="connsiteX89" fmla="*/ 1211 w 674427"/>
                <a:gd name="connsiteY89" fmla="*/ 292132 h 298273"/>
                <a:gd name="connsiteX90" fmla="*/ 2163 w 674427"/>
                <a:gd name="connsiteY90" fmla="*/ 290229 h 298273"/>
                <a:gd name="connsiteX91" fmla="*/ 5019 w 674427"/>
                <a:gd name="connsiteY91" fmla="*/ 291180 h 298273"/>
                <a:gd name="connsiteX92" fmla="*/ 8827 w 674427"/>
                <a:gd name="connsiteY92" fmla="*/ 284519 h 298273"/>
                <a:gd name="connsiteX93" fmla="*/ 9778 w 674427"/>
                <a:gd name="connsiteY93" fmla="*/ 284519 h 298273"/>
                <a:gd name="connsiteX94" fmla="*/ 5019 w 674427"/>
                <a:gd name="connsiteY94" fmla="*/ 287374 h 298273"/>
                <a:gd name="connsiteX95" fmla="*/ 3115 w 674427"/>
                <a:gd name="connsiteY95" fmla="*/ 290229 h 298273"/>
                <a:gd name="connsiteX96" fmla="*/ 2163 w 674427"/>
                <a:gd name="connsiteY96" fmla="*/ 290229 h 298273"/>
                <a:gd name="connsiteX97" fmla="*/ 259 w 674427"/>
                <a:gd name="connsiteY97" fmla="*/ 292132 h 298273"/>
                <a:gd name="connsiteX98" fmla="*/ 5971 w 674427"/>
                <a:gd name="connsiteY98" fmla="*/ 297841 h 298273"/>
                <a:gd name="connsiteX99" fmla="*/ 9778 w 674427"/>
                <a:gd name="connsiteY99" fmla="*/ 294035 h 298273"/>
                <a:gd name="connsiteX100" fmla="*/ 14538 w 674427"/>
                <a:gd name="connsiteY100" fmla="*/ 294035 h 298273"/>
                <a:gd name="connsiteX101" fmla="*/ 15490 w 674427"/>
                <a:gd name="connsiteY101" fmla="*/ 292132 h 298273"/>
                <a:gd name="connsiteX102" fmla="*/ 19297 w 674427"/>
                <a:gd name="connsiteY102" fmla="*/ 292132 h 298273"/>
                <a:gd name="connsiteX103" fmla="*/ 24057 w 674427"/>
                <a:gd name="connsiteY103" fmla="*/ 290229 h 298273"/>
                <a:gd name="connsiteX104" fmla="*/ 25009 w 674427"/>
                <a:gd name="connsiteY104" fmla="*/ 289277 h 298273"/>
                <a:gd name="connsiteX105" fmla="*/ 32624 w 674427"/>
                <a:gd name="connsiteY105" fmla="*/ 285471 h 298273"/>
                <a:gd name="connsiteX106" fmla="*/ 35480 w 674427"/>
                <a:gd name="connsiteY106" fmla="*/ 288325 h 298273"/>
                <a:gd name="connsiteX107" fmla="*/ 32624 w 674427"/>
                <a:gd name="connsiteY107" fmla="*/ 288325 h 298273"/>
                <a:gd name="connsiteX108" fmla="*/ 29768 w 674427"/>
                <a:gd name="connsiteY108" fmla="*/ 292132 h 298273"/>
                <a:gd name="connsiteX109" fmla="*/ 35480 w 674427"/>
                <a:gd name="connsiteY109" fmla="*/ 290229 h 298273"/>
                <a:gd name="connsiteX110" fmla="*/ 34528 w 674427"/>
                <a:gd name="connsiteY110" fmla="*/ 290229 h 298273"/>
                <a:gd name="connsiteX111" fmla="*/ 42143 w 674427"/>
                <a:gd name="connsiteY111" fmla="*/ 286422 h 298273"/>
                <a:gd name="connsiteX112" fmla="*/ 42143 w 674427"/>
                <a:gd name="connsiteY112" fmla="*/ 288325 h 298273"/>
                <a:gd name="connsiteX113" fmla="*/ 44999 w 674427"/>
                <a:gd name="connsiteY113" fmla="*/ 287374 h 298273"/>
                <a:gd name="connsiteX114" fmla="*/ 44999 w 674427"/>
                <a:gd name="connsiteY114" fmla="*/ 287374 h 298273"/>
                <a:gd name="connsiteX115" fmla="*/ 48806 w 674427"/>
                <a:gd name="connsiteY115" fmla="*/ 285471 h 298273"/>
                <a:gd name="connsiteX116" fmla="*/ 61181 w 674427"/>
                <a:gd name="connsiteY116" fmla="*/ 276907 h 298273"/>
                <a:gd name="connsiteX117" fmla="*/ 64989 w 674427"/>
                <a:gd name="connsiteY117" fmla="*/ 275004 h 298273"/>
                <a:gd name="connsiteX118" fmla="*/ 50710 w 674427"/>
                <a:gd name="connsiteY118" fmla="*/ 284519 h 298273"/>
                <a:gd name="connsiteX119" fmla="*/ 71652 w 674427"/>
                <a:gd name="connsiteY119" fmla="*/ 272149 h 298273"/>
                <a:gd name="connsiteX120" fmla="*/ 73556 w 674427"/>
                <a:gd name="connsiteY120" fmla="*/ 270246 h 298273"/>
                <a:gd name="connsiteX121" fmla="*/ 75460 w 674427"/>
                <a:gd name="connsiteY121" fmla="*/ 271197 h 298273"/>
                <a:gd name="connsiteX122" fmla="*/ 75460 w 674427"/>
                <a:gd name="connsiteY122" fmla="*/ 271197 h 298273"/>
                <a:gd name="connsiteX123" fmla="*/ 77363 w 674427"/>
                <a:gd name="connsiteY123" fmla="*/ 271197 h 298273"/>
                <a:gd name="connsiteX124" fmla="*/ 89738 w 674427"/>
                <a:gd name="connsiteY124" fmla="*/ 264536 h 298273"/>
                <a:gd name="connsiteX125" fmla="*/ 85930 w 674427"/>
                <a:gd name="connsiteY125" fmla="*/ 269294 h 298273"/>
                <a:gd name="connsiteX126" fmla="*/ 84979 w 674427"/>
                <a:gd name="connsiteY126" fmla="*/ 269294 h 298273"/>
                <a:gd name="connsiteX127" fmla="*/ 83075 w 674427"/>
                <a:gd name="connsiteY127" fmla="*/ 271197 h 298273"/>
                <a:gd name="connsiteX128" fmla="*/ 89738 w 674427"/>
                <a:gd name="connsiteY128" fmla="*/ 267391 h 298273"/>
                <a:gd name="connsiteX129" fmla="*/ 91642 w 674427"/>
                <a:gd name="connsiteY129" fmla="*/ 267391 h 298273"/>
                <a:gd name="connsiteX130" fmla="*/ 91642 w 674427"/>
                <a:gd name="connsiteY130" fmla="*/ 267391 h 298273"/>
                <a:gd name="connsiteX131" fmla="*/ 92594 w 674427"/>
                <a:gd name="connsiteY131" fmla="*/ 268343 h 298273"/>
                <a:gd name="connsiteX132" fmla="*/ 92594 w 674427"/>
                <a:gd name="connsiteY132" fmla="*/ 268343 h 298273"/>
                <a:gd name="connsiteX133" fmla="*/ 105920 w 674427"/>
                <a:gd name="connsiteY133" fmla="*/ 261681 h 298273"/>
                <a:gd name="connsiteX134" fmla="*/ 106872 w 674427"/>
                <a:gd name="connsiteY134" fmla="*/ 259778 h 298273"/>
                <a:gd name="connsiteX135" fmla="*/ 119247 w 674427"/>
                <a:gd name="connsiteY135" fmla="*/ 255972 h 298273"/>
                <a:gd name="connsiteX136" fmla="*/ 118295 w 674427"/>
                <a:gd name="connsiteY136" fmla="*/ 254069 h 298273"/>
                <a:gd name="connsiteX137" fmla="*/ 122103 w 674427"/>
                <a:gd name="connsiteY137" fmla="*/ 253117 h 298273"/>
                <a:gd name="connsiteX138" fmla="*/ 126862 w 674427"/>
                <a:gd name="connsiteY138" fmla="*/ 255972 h 298273"/>
                <a:gd name="connsiteX139" fmla="*/ 131622 w 674427"/>
                <a:gd name="connsiteY139" fmla="*/ 254069 h 298273"/>
                <a:gd name="connsiteX140" fmla="*/ 133525 w 674427"/>
                <a:gd name="connsiteY140" fmla="*/ 251214 h 298273"/>
                <a:gd name="connsiteX141" fmla="*/ 139237 w 674427"/>
                <a:gd name="connsiteY141" fmla="*/ 249311 h 298273"/>
                <a:gd name="connsiteX142" fmla="*/ 140189 w 674427"/>
                <a:gd name="connsiteY142" fmla="*/ 251214 h 298273"/>
                <a:gd name="connsiteX143" fmla="*/ 148756 w 674427"/>
                <a:gd name="connsiteY143" fmla="*/ 248360 h 298273"/>
                <a:gd name="connsiteX144" fmla="*/ 155419 w 674427"/>
                <a:gd name="connsiteY144" fmla="*/ 243602 h 298273"/>
                <a:gd name="connsiteX145" fmla="*/ 161131 w 674427"/>
                <a:gd name="connsiteY145" fmla="*/ 238844 h 298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74427" h="298273">
                  <a:moveTo>
                    <a:pt x="161131" y="238844"/>
                  </a:moveTo>
                  <a:lnTo>
                    <a:pt x="163986" y="237892"/>
                  </a:lnTo>
                  <a:cubicBezTo>
                    <a:pt x="155419" y="242650"/>
                    <a:pt x="145900" y="246456"/>
                    <a:pt x="136381" y="250263"/>
                  </a:cubicBezTo>
                  <a:cubicBezTo>
                    <a:pt x="158275" y="244553"/>
                    <a:pt x="183024" y="236941"/>
                    <a:pt x="194447" y="220764"/>
                  </a:cubicBezTo>
                  <a:cubicBezTo>
                    <a:pt x="198255" y="224570"/>
                    <a:pt x="218245" y="216958"/>
                    <a:pt x="218245" y="216006"/>
                  </a:cubicBezTo>
                  <a:cubicBezTo>
                    <a:pt x="222052" y="213152"/>
                    <a:pt x="225860" y="210297"/>
                    <a:pt x="229667" y="208394"/>
                  </a:cubicBezTo>
                  <a:cubicBezTo>
                    <a:pt x="226812" y="210297"/>
                    <a:pt x="224908" y="212200"/>
                    <a:pt x="222052" y="213152"/>
                  </a:cubicBezTo>
                  <a:cubicBezTo>
                    <a:pt x="224908" y="211248"/>
                    <a:pt x="227764" y="209345"/>
                    <a:pt x="229667" y="208394"/>
                  </a:cubicBezTo>
                  <a:cubicBezTo>
                    <a:pt x="254417" y="192217"/>
                    <a:pt x="282974" y="180798"/>
                    <a:pt x="313435" y="169379"/>
                  </a:cubicBezTo>
                  <a:cubicBezTo>
                    <a:pt x="329617" y="162718"/>
                    <a:pt x="374356" y="143687"/>
                    <a:pt x="392442" y="137978"/>
                  </a:cubicBezTo>
                  <a:lnTo>
                    <a:pt x="400057" y="135123"/>
                  </a:lnTo>
                  <a:cubicBezTo>
                    <a:pt x="396250" y="136074"/>
                    <a:pt x="396250" y="136074"/>
                    <a:pt x="391490" y="137978"/>
                  </a:cubicBezTo>
                  <a:cubicBezTo>
                    <a:pt x="401009" y="132268"/>
                    <a:pt x="409576" y="126559"/>
                    <a:pt x="418144" y="121801"/>
                  </a:cubicBezTo>
                  <a:cubicBezTo>
                    <a:pt x="416240" y="121801"/>
                    <a:pt x="415288" y="120849"/>
                    <a:pt x="411480" y="121801"/>
                  </a:cubicBezTo>
                  <a:lnTo>
                    <a:pt x="416240" y="119898"/>
                  </a:lnTo>
                  <a:cubicBezTo>
                    <a:pt x="419095" y="116092"/>
                    <a:pt x="429566" y="112285"/>
                    <a:pt x="433374" y="109430"/>
                  </a:cubicBezTo>
                  <a:cubicBezTo>
                    <a:pt x="432422" y="111334"/>
                    <a:pt x="436230" y="109430"/>
                    <a:pt x="440037" y="108479"/>
                  </a:cubicBezTo>
                  <a:lnTo>
                    <a:pt x="438133" y="108479"/>
                  </a:lnTo>
                  <a:cubicBezTo>
                    <a:pt x="450508" y="103721"/>
                    <a:pt x="463835" y="97060"/>
                    <a:pt x="474306" y="92302"/>
                  </a:cubicBezTo>
                  <a:cubicBezTo>
                    <a:pt x="476209" y="91351"/>
                    <a:pt x="477161" y="91351"/>
                    <a:pt x="478113" y="91351"/>
                  </a:cubicBezTo>
                  <a:lnTo>
                    <a:pt x="488584" y="86593"/>
                  </a:lnTo>
                  <a:cubicBezTo>
                    <a:pt x="488584" y="88496"/>
                    <a:pt x="498103" y="84690"/>
                    <a:pt x="493344" y="87544"/>
                  </a:cubicBezTo>
                  <a:cubicBezTo>
                    <a:pt x="500007" y="82787"/>
                    <a:pt x="508574" y="80883"/>
                    <a:pt x="515237" y="76126"/>
                  </a:cubicBezTo>
                  <a:cubicBezTo>
                    <a:pt x="528564" y="70416"/>
                    <a:pt x="541891" y="64707"/>
                    <a:pt x="555217" y="58997"/>
                  </a:cubicBezTo>
                  <a:cubicBezTo>
                    <a:pt x="568544" y="53288"/>
                    <a:pt x="582822" y="47578"/>
                    <a:pt x="596149" y="40917"/>
                  </a:cubicBezTo>
                  <a:lnTo>
                    <a:pt x="595197" y="40917"/>
                  </a:lnTo>
                  <a:cubicBezTo>
                    <a:pt x="604716" y="36160"/>
                    <a:pt x="612331" y="31402"/>
                    <a:pt x="624706" y="27596"/>
                  </a:cubicBezTo>
                  <a:cubicBezTo>
                    <a:pt x="632321" y="22838"/>
                    <a:pt x="644696" y="18080"/>
                    <a:pt x="646599" y="14274"/>
                  </a:cubicBezTo>
                  <a:cubicBezTo>
                    <a:pt x="656118" y="10467"/>
                    <a:pt x="659926" y="8564"/>
                    <a:pt x="669445" y="4758"/>
                  </a:cubicBezTo>
                  <a:cubicBezTo>
                    <a:pt x="666589" y="3806"/>
                    <a:pt x="678012" y="0"/>
                    <a:pt x="673253" y="0"/>
                  </a:cubicBezTo>
                  <a:cubicBezTo>
                    <a:pt x="666589" y="0"/>
                    <a:pt x="666589" y="1903"/>
                    <a:pt x="659926" y="1903"/>
                  </a:cubicBezTo>
                  <a:lnTo>
                    <a:pt x="659926" y="1903"/>
                  </a:lnTo>
                  <a:cubicBezTo>
                    <a:pt x="633273" y="7613"/>
                    <a:pt x="607572" y="15225"/>
                    <a:pt x="581870" y="23789"/>
                  </a:cubicBezTo>
                  <a:cubicBezTo>
                    <a:pt x="565688" y="31402"/>
                    <a:pt x="546650" y="37111"/>
                    <a:pt x="528564" y="44724"/>
                  </a:cubicBezTo>
                  <a:cubicBezTo>
                    <a:pt x="509526" y="52336"/>
                    <a:pt x="489536" y="61852"/>
                    <a:pt x="474306" y="69465"/>
                  </a:cubicBezTo>
                  <a:cubicBezTo>
                    <a:pt x="470498" y="71368"/>
                    <a:pt x="467642" y="71368"/>
                    <a:pt x="463835" y="72319"/>
                  </a:cubicBezTo>
                  <a:cubicBezTo>
                    <a:pt x="449556" y="78980"/>
                    <a:pt x="430518" y="86593"/>
                    <a:pt x="414336" y="94205"/>
                  </a:cubicBezTo>
                  <a:lnTo>
                    <a:pt x="415288" y="94205"/>
                  </a:lnTo>
                  <a:cubicBezTo>
                    <a:pt x="406721" y="98012"/>
                    <a:pt x="399106" y="99915"/>
                    <a:pt x="390538" y="103721"/>
                  </a:cubicBezTo>
                  <a:cubicBezTo>
                    <a:pt x="390538" y="103721"/>
                    <a:pt x="389587" y="104673"/>
                    <a:pt x="388635" y="105624"/>
                  </a:cubicBezTo>
                  <a:cubicBezTo>
                    <a:pt x="386731" y="104673"/>
                    <a:pt x="340088" y="132268"/>
                    <a:pt x="336280" y="132268"/>
                  </a:cubicBezTo>
                  <a:lnTo>
                    <a:pt x="333424" y="134171"/>
                  </a:lnTo>
                  <a:cubicBezTo>
                    <a:pt x="315338" y="141784"/>
                    <a:pt x="295348" y="146542"/>
                    <a:pt x="280118" y="154154"/>
                  </a:cubicBezTo>
                  <a:cubicBezTo>
                    <a:pt x="277262" y="157009"/>
                    <a:pt x="273455" y="158912"/>
                    <a:pt x="271551" y="161767"/>
                  </a:cubicBezTo>
                  <a:cubicBezTo>
                    <a:pt x="268695" y="161767"/>
                    <a:pt x="268695" y="163670"/>
                    <a:pt x="264888" y="165573"/>
                  </a:cubicBezTo>
                  <a:cubicBezTo>
                    <a:pt x="254417" y="165573"/>
                    <a:pt x="250609" y="169379"/>
                    <a:pt x="255369" y="169379"/>
                  </a:cubicBezTo>
                  <a:cubicBezTo>
                    <a:pt x="248705" y="173186"/>
                    <a:pt x="242042" y="176040"/>
                    <a:pt x="235379" y="178895"/>
                  </a:cubicBezTo>
                  <a:cubicBezTo>
                    <a:pt x="232523" y="180798"/>
                    <a:pt x="229667" y="181750"/>
                    <a:pt x="227764" y="183653"/>
                  </a:cubicBezTo>
                  <a:cubicBezTo>
                    <a:pt x="225860" y="185556"/>
                    <a:pt x="223956" y="185556"/>
                    <a:pt x="222052" y="184604"/>
                  </a:cubicBezTo>
                  <a:cubicBezTo>
                    <a:pt x="216341" y="188411"/>
                    <a:pt x="217293" y="186508"/>
                    <a:pt x="210629" y="189362"/>
                  </a:cubicBezTo>
                  <a:cubicBezTo>
                    <a:pt x="208726" y="188411"/>
                    <a:pt x="195399" y="198878"/>
                    <a:pt x="193495" y="199829"/>
                  </a:cubicBezTo>
                  <a:lnTo>
                    <a:pt x="194447" y="198878"/>
                  </a:lnTo>
                  <a:cubicBezTo>
                    <a:pt x="186832" y="202684"/>
                    <a:pt x="181120" y="201733"/>
                    <a:pt x="173505" y="205539"/>
                  </a:cubicBezTo>
                  <a:cubicBezTo>
                    <a:pt x="152563" y="214103"/>
                    <a:pt x="131622" y="225522"/>
                    <a:pt x="112584" y="235038"/>
                  </a:cubicBezTo>
                  <a:cubicBezTo>
                    <a:pt x="112584" y="235989"/>
                    <a:pt x="116391" y="233134"/>
                    <a:pt x="117343" y="234086"/>
                  </a:cubicBezTo>
                  <a:cubicBezTo>
                    <a:pt x="105920" y="238844"/>
                    <a:pt x="94498" y="242650"/>
                    <a:pt x="83075" y="248360"/>
                  </a:cubicBezTo>
                  <a:cubicBezTo>
                    <a:pt x="81171" y="249311"/>
                    <a:pt x="78315" y="249311"/>
                    <a:pt x="77363" y="249311"/>
                  </a:cubicBezTo>
                  <a:cubicBezTo>
                    <a:pt x="73556" y="250263"/>
                    <a:pt x="75460" y="251214"/>
                    <a:pt x="72604" y="252166"/>
                  </a:cubicBezTo>
                  <a:lnTo>
                    <a:pt x="71652" y="251214"/>
                  </a:lnTo>
                  <a:cubicBezTo>
                    <a:pt x="68796" y="254069"/>
                    <a:pt x="64989" y="252166"/>
                    <a:pt x="62133" y="255021"/>
                  </a:cubicBezTo>
                  <a:cubicBezTo>
                    <a:pt x="62133" y="255972"/>
                    <a:pt x="61181" y="255972"/>
                    <a:pt x="59277" y="256924"/>
                  </a:cubicBezTo>
                  <a:cubicBezTo>
                    <a:pt x="58325" y="255972"/>
                    <a:pt x="55470" y="258827"/>
                    <a:pt x="55470" y="257875"/>
                  </a:cubicBezTo>
                  <a:lnTo>
                    <a:pt x="55470" y="257875"/>
                  </a:lnTo>
                  <a:cubicBezTo>
                    <a:pt x="54518" y="257875"/>
                    <a:pt x="54518" y="258827"/>
                    <a:pt x="53566" y="258827"/>
                  </a:cubicBezTo>
                  <a:cubicBezTo>
                    <a:pt x="52614" y="259778"/>
                    <a:pt x="40239" y="270246"/>
                    <a:pt x="39287" y="271197"/>
                  </a:cubicBezTo>
                  <a:lnTo>
                    <a:pt x="38335" y="271197"/>
                  </a:lnTo>
                  <a:cubicBezTo>
                    <a:pt x="36432" y="272149"/>
                    <a:pt x="35480" y="274052"/>
                    <a:pt x="37384" y="273100"/>
                  </a:cubicBezTo>
                  <a:lnTo>
                    <a:pt x="34528" y="274052"/>
                  </a:lnTo>
                  <a:lnTo>
                    <a:pt x="34528" y="274052"/>
                  </a:lnTo>
                  <a:lnTo>
                    <a:pt x="31672" y="275004"/>
                  </a:lnTo>
                  <a:cubicBezTo>
                    <a:pt x="30720" y="275004"/>
                    <a:pt x="30720" y="275004"/>
                    <a:pt x="30720" y="274052"/>
                  </a:cubicBezTo>
                  <a:cubicBezTo>
                    <a:pt x="29768" y="275004"/>
                    <a:pt x="27865" y="275955"/>
                    <a:pt x="26913" y="276907"/>
                  </a:cubicBezTo>
                  <a:cubicBezTo>
                    <a:pt x="31672" y="275955"/>
                    <a:pt x="36432" y="274052"/>
                    <a:pt x="41191" y="274052"/>
                  </a:cubicBezTo>
                  <a:cubicBezTo>
                    <a:pt x="39287" y="275004"/>
                    <a:pt x="36432" y="275955"/>
                    <a:pt x="34528" y="276907"/>
                  </a:cubicBezTo>
                  <a:cubicBezTo>
                    <a:pt x="31672" y="276907"/>
                    <a:pt x="26913" y="278810"/>
                    <a:pt x="23105" y="279761"/>
                  </a:cubicBezTo>
                  <a:cubicBezTo>
                    <a:pt x="22153" y="279761"/>
                    <a:pt x="22153" y="281664"/>
                    <a:pt x="20249" y="281664"/>
                  </a:cubicBezTo>
                  <a:cubicBezTo>
                    <a:pt x="19297" y="280713"/>
                    <a:pt x="18346" y="282616"/>
                    <a:pt x="16442" y="282616"/>
                  </a:cubicBezTo>
                  <a:cubicBezTo>
                    <a:pt x="17394" y="281664"/>
                    <a:pt x="19297" y="280713"/>
                    <a:pt x="21201" y="279761"/>
                  </a:cubicBezTo>
                  <a:cubicBezTo>
                    <a:pt x="20249" y="278810"/>
                    <a:pt x="16442" y="280713"/>
                    <a:pt x="15490" y="281664"/>
                  </a:cubicBezTo>
                  <a:cubicBezTo>
                    <a:pt x="15490" y="282616"/>
                    <a:pt x="11682" y="283568"/>
                    <a:pt x="9778" y="284519"/>
                  </a:cubicBezTo>
                  <a:cubicBezTo>
                    <a:pt x="9778" y="282616"/>
                    <a:pt x="7875" y="284519"/>
                    <a:pt x="5971" y="284519"/>
                  </a:cubicBezTo>
                  <a:cubicBezTo>
                    <a:pt x="4067" y="285471"/>
                    <a:pt x="4067" y="285471"/>
                    <a:pt x="5019" y="286422"/>
                  </a:cubicBezTo>
                  <a:cubicBezTo>
                    <a:pt x="5019" y="288325"/>
                    <a:pt x="10730" y="284519"/>
                    <a:pt x="9778" y="286422"/>
                  </a:cubicBezTo>
                  <a:cubicBezTo>
                    <a:pt x="8827" y="286422"/>
                    <a:pt x="5971" y="287374"/>
                    <a:pt x="5019" y="288325"/>
                  </a:cubicBezTo>
                  <a:cubicBezTo>
                    <a:pt x="5019" y="289277"/>
                    <a:pt x="5971" y="288325"/>
                    <a:pt x="5971" y="289277"/>
                  </a:cubicBezTo>
                  <a:cubicBezTo>
                    <a:pt x="4067" y="290229"/>
                    <a:pt x="3115" y="291180"/>
                    <a:pt x="1211" y="291180"/>
                  </a:cubicBezTo>
                  <a:lnTo>
                    <a:pt x="2163" y="290229"/>
                  </a:lnTo>
                  <a:cubicBezTo>
                    <a:pt x="259" y="291180"/>
                    <a:pt x="11682" y="280713"/>
                    <a:pt x="8827" y="281664"/>
                  </a:cubicBezTo>
                  <a:cubicBezTo>
                    <a:pt x="9778" y="281664"/>
                    <a:pt x="-1644" y="291180"/>
                    <a:pt x="259" y="291180"/>
                  </a:cubicBezTo>
                  <a:cubicBezTo>
                    <a:pt x="2163" y="291180"/>
                    <a:pt x="259" y="293083"/>
                    <a:pt x="1211" y="292132"/>
                  </a:cubicBezTo>
                  <a:lnTo>
                    <a:pt x="2163" y="290229"/>
                  </a:lnTo>
                  <a:cubicBezTo>
                    <a:pt x="4067" y="289277"/>
                    <a:pt x="5019" y="290229"/>
                    <a:pt x="5019" y="291180"/>
                  </a:cubicBezTo>
                  <a:cubicBezTo>
                    <a:pt x="2163" y="292132"/>
                    <a:pt x="11682" y="282616"/>
                    <a:pt x="8827" y="284519"/>
                  </a:cubicBezTo>
                  <a:lnTo>
                    <a:pt x="9778" y="284519"/>
                  </a:lnTo>
                  <a:cubicBezTo>
                    <a:pt x="8827" y="285471"/>
                    <a:pt x="5971" y="287374"/>
                    <a:pt x="5019" y="287374"/>
                  </a:cubicBezTo>
                  <a:cubicBezTo>
                    <a:pt x="5019" y="288325"/>
                    <a:pt x="4067" y="289277"/>
                    <a:pt x="3115" y="290229"/>
                  </a:cubicBezTo>
                  <a:lnTo>
                    <a:pt x="2163" y="290229"/>
                  </a:lnTo>
                  <a:cubicBezTo>
                    <a:pt x="1211" y="291180"/>
                    <a:pt x="-692" y="292132"/>
                    <a:pt x="259" y="292132"/>
                  </a:cubicBezTo>
                  <a:cubicBezTo>
                    <a:pt x="7875" y="288325"/>
                    <a:pt x="-1644" y="300696"/>
                    <a:pt x="5971" y="297841"/>
                  </a:cubicBezTo>
                  <a:cubicBezTo>
                    <a:pt x="2163" y="297841"/>
                    <a:pt x="5971" y="295938"/>
                    <a:pt x="9778" y="294035"/>
                  </a:cubicBezTo>
                  <a:cubicBezTo>
                    <a:pt x="10730" y="294035"/>
                    <a:pt x="11682" y="294035"/>
                    <a:pt x="14538" y="294035"/>
                  </a:cubicBezTo>
                  <a:cubicBezTo>
                    <a:pt x="16442" y="293083"/>
                    <a:pt x="15490" y="293083"/>
                    <a:pt x="15490" y="292132"/>
                  </a:cubicBezTo>
                  <a:cubicBezTo>
                    <a:pt x="16442" y="292132"/>
                    <a:pt x="19297" y="291180"/>
                    <a:pt x="19297" y="292132"/>
                  </a:cubicBezTo>
                  <a:cubicBezTo>
                    <a:pt x="20249" y="290229"/>
                    <a:pt x="22153" y="291180"/>
                    <a:pt x="24057" y="290229"/>
                  </a:cubicBezTo>
                  <a:cubicBezTo>
                    <a:pt x="25961" y="289277"/>
                    <a:pt x="24057" y="290229"/>
                    <a:pt x="25009" y="289277"/>
                  </a:cubicBezTo>
                  <a:cubicBezTo>
                    <a:pt x="27865" y="288325"/>
                    <a:pt x="30720" y="286422"/>
                    <a:pt x="32624" y="285471"/>
                  </a:cubicBezTo>
                  <a:cubicBezTo>
                    <a:pt x="33576" y="285471"/>
                    <a:pt x="36432" y="285471"/>
                    <a:pt x="35480" y="288325"/>
                  </a:cubicBezTo>
                  <a:cubicBezTo>
                    <a:pt x="31672" y="290229"/>
                    <a:pt x="36432" y="285471"/>
                    <a:pt x="32624" y="288325"/>
                  </a:cubicBezTo>
                  <a:cubicBezTo>
                    <a:pt x="35480" y="289277"/>
                    <a:pt x="29768" y="290229"/>
                    <a:pt x="29768" y="292132"/>
                  </a:cubicBezTo>
                  <a:cubicBezTo>
                    <a:pt x="31672" y="292132"/>
                    <a:pt x="33576" y="291180"/>
                    <a:pt x="35480" y="290229"/>
                  </a:cubicBezTo>
                  <a:lnTo>
                    <a:pt x="34528" y="290229"/>
                  </a:lnTo>
                  <a:cubicBezTo>
                    <a:pt x="36432" y="289277"/>
                    <a:pt x="40239" y="287374"/>
                    <a:pt x="42143" y="286422"/>
                  </a:cubicBezTo>
                  <a:cubicBezTo>
                    <a:pt x="42143" y="287374"/>
                    <a:pt x="43095" y="287374"/>
                    <a:pt x="42143" y="288325"/>
                  </a:cubicBezTo>
                  <a:lnTo>
                    <a:pt x="44999" y="287374"/>
                  </a:lnTo>
                  <a:cubicBezTo>
                    <a:pt x="44999" y="287374"/>
                    <a:pt x="44999" y="286422"/>
                    <a:pt x="44999" y="287374"/>
                  </a:cubicBezTo>
                  <a:cubicBezTo>
                    <a:pt x="45951" y="286422"/>
                    <a:pt x="46903" y="286422"/>
                    <a:pt x="48806" y="285471"/>
                  </a:cubicBezTo>
                  <a:cubicBezTo>
                    <a:pt x="49758" y="285471"/>
                    <a:pt x="61181" y="275955"/>
                    <a:pt x="61181" y="276907"/>
                  </a:cubicBezTo>
                  <a:cubicBezTo>
                    <a:pt x="63085" y="275955"/>
                    <a:pt x="64037" y="276907"/>
                    <a:pt x="64989" y="275004"/>
                  </a:cubicBezTo>
                  <a:cubicBezTo>
                    <a:pt x="64989" y="274052"/>
                    <a:pt x="48806" y="285471"/>
                    <a:pt x="50710" y="284519"/>
                  </a:cubicBezTo>
                  <a:cubicBezTo>
                    <a:pt x="52614" y="284519"/>
                    <a:pt x="69748" y="271197"/>
                    <a:pt x="71652" y="272149"/>
                  </a:cubicBezTo>
                  <a:cubicBezTo>
                    <a:pt x="72604" y="271197"/>
                    <a:pt x="74508" y="270246"/>
                    <a:pt x="73556" y="270246"/>
                  </a:cubicBezTo>
                  <a:cubicBezTo>
                    <a:pt x="76411" y="269294"/>
                    <a:pt x="73556" y="272149"/>
                    <a:pt x="75460" y="271197"/>
                  </a:cubicBezTo>
                  <a:lnTo>
                    <a:pt x="75460" y="271197"/>
                  </a:lnTo>
                  <a:lnTo>
                    <a:pt x="77363" y="271197"/>
                  </a:lnTo>
                  <a:cubicBezTo>
                    <a:pt x="80219" y="268343"/>
                    <a:pt x="85930" y="267391"/>
                    <a:pt x="89738" y="264536"/>
                  </a:cubicBezTo>
                  <a:cubicBezTo>
                    <a:pt x="88786" y="265488"/>
                    <a:pt x="88786" y="267391"/>
                    <a:pt x="85930" y="269294"/>
                  </a:cubicBezTo>
                  <a:lnTo>
                    <a:pt x="84979" y="269294"/>
                  </a:lnTo>
                  <a:lnTo>
                    <a:pt x="83075" y="271197"/>
                  </a:lnTo>
                  <a:cubicBezTo>
                    <a:pt x="85930" y="270246"/>
                    <a:pt x="87834" y="269294"/>
                    <a:pt x="89738" y="267391"/>
                  </a:cubicBezTo>
                  <a:cubicBezTo>
                    <a:pt x="90690" y="267391"/>
                    <a:pt x="90690" y="267391"/>
                    <a:pt x="91642" y="267391"/>
                  </a:cubicBezTo>
                  <a:lnTo>
                    <a:pt x="91642" y="267391"/>
                  </a:lnTo>
                  <a:cubicBezTo>
                    <a:pt x="92594" y="267391"/>
                    <a:pt x="92594" y="267391"/>
                    <a:pt x="92594" y="268343"/>
                  </a:cubicBezTo>
                  <a:lnTo>
                    <a:pt x="92594" y="268343"/>
                  </a:lnTo>
                  <a:cubicBezTo>
                    <a:pt x="94498" y="269294"/>
                    <a:pt x="101161" y="262633"/>
                    <a:pt x="105920" y="261681"/>
                  </a:cubicBezTo>
                  <a:cubicBezTo>
                    <a:pt x="106872" y="260730"/>
                    <a:pt x="105920" y="261681"/>
                    <a:pt x="106872" y="259778"/>
                  </a:cubicBezTo>
                  <a:cubicBezTo>
                    <a:pt x="111632" y="258827"/>
                    <a:pt x="114487" y="257875"/>
                    <a:pt x="119247" y="255972"/>
                  </a:cubicBezTo>
                  <a:cubicBezTo>
                    <a:pt x="120199" y="254069"/>
                    <a:pt x="120199" y="254069"/>
                    <a:pt x="118295" y="254069"/>
                  </a:cubicBezTo>
                  <a:lnTo>
                    <a:pt x="122103" y="253117"/>
                  </a:lnTo>
                  <a:cubicBezTo>
                    <a:pt x="120199" y="256924"/>
                    <a:pt x="129718" y="252166"/>
                    <a:pt x="126862" y="255972"/>
                  </a:cubicBezTo>
                  <a:cubicBezTo>
                    <a:pt x="127814" y="255972"/>
                    <a:pt x="129718" y="255021"/>
                    <a:pt x="131622" y="254069"/>
                  </a:cubicBezTo>
                  <a:cubicBezTo>
                    <a:pt x="131622" y="253117"/>
                    <a:pt x="131622" y="252166"/>
                    <a:pt x="133525" y="251214"/>
                  </a:cubicBezTo>
                  <a:cubicBezTo>
                    <a:pt x="137333" y="250263"/>
                    <a:pt x="136381" y="250263"/>
                    <a:pt x="139237" y="249311"/>
                  </a:cubicBezTo>
                  <a:cubicBezTo>
                    <a:pt x="140189" y="249311"/>
                    <a:pt x="139237" y="250263"/>
                    <a:pt x="140189" y="251214"/>
                  </a:cubicBezTo>
                  <a:cubicBezTo>
                    <a:pt x="143996" y="248360"/>
                    <a:pt x="144948" y="251214"/>
                    <a:pt x="148756" y="248360"/>
                  </a:cubicBezTo>
                  <a:cubicBezTo>
                    <a:pt x="151612" y="247408"/>
                    <a:pt x="156371" y="244553"/>
                    <a:pt x="155419" y="243602"/>
                  </a:cubicBezTo>
                  <a:cubicBezTo>
                    <a:pt x="161131" y="236941"/>
                    <a:pt x="161131" y="237892"/>
                    <a:pt x="161131" y="238844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  <p:sp>
          <p:nvSpPr>
            <p:cNvPr id="12" name="Kombinationstegning 11">
              <a:extLst>
                <a:ext uri="{FF2B5EF4-FFF2-40B4-BE49-F238E27FC236}">
                  <a16:creationId xmlns:a16="http://schemas.microsoft.com/office/drawing/2014/main" id="{82041656-5DF5-7545-B85B-7EC994BC2117}"/>
                </a:ext>
              </a:extLst>
            </p:cNvPr>
            <p:cNvSpPr/>
            <p:nvPr/>
          </p:nvSpPr>
          <p:spPr>
            <a:xfrm>
              <a:off x="4230253" y="1614978"/>
              <a:ext cx="327509" cy="227766"/>
            </a:xfrm>
            <a:custGeom>
              <a:avLst/>
              <a:gdLst>
                <a:gd name="connsiteX0" fmla="*/ 139034 w 327509"/>
                <a:gd name="connsiteY0" fmla="*/ 58997 h 227766"/>
                <a:gd name="connsiteX1" fmla="*/ 141889 w 327509"/>
                <a:gd name="connsiteY1" fmla="*/ 58997 h 227766"/>
                <a:gd name="connsiteX2" fmla="*/ 116188 w 327509"/>
                <a:gd name="connsiteY2" fmla="*/ 61852 h 227766"/>
                <a:gd name="connsiteX3" fmla="*/ 170446 w 327509"/>
                <a:gd name="connsiteY3" fmla="*/ 51385 h 227766"/>
                <a:gd name="connsiteX4" fmla="*/ 191388 w 327509"/>
                <a:gd name="connsiteY4" fmla="*/ 54239 h 227766"/>
                <a:gd name="connsiteX5" fmla="*/ 201859 w 327509"/>
                <a:gd name="connsiteY5" fmla="*/ 50433 h 227766"/>
                <a:gd name="connsiteX6" fmla="*/ 194244 w 327509"/>
                <a:gd name="connsiteY6" fmla="*/ 53288 h 227766"/>
                <a:gd name="connsiteX7" fmla="*/ 201859 w 327509"/>
                <a:gd name="connsiteY7" fmla="*/ 50433 h 227766"/>
                <a:gd name="connsiteX8" fmla="*/ 210426 w 327509"/>
                <a:gd name="connsiteY8" fmla="*/ 47578 h 227766"/>
                <a:gd name="connsiteX9" fmla="*/ 218041 w 327509"/>
                <a:gd name="connsiteY9" fmla="*/ 45675 h 227766"/>
                <a:gd name="connsiteX10" fmla="*/ 224705 w 327509"/>
                <a:gd name="connsiteY10" fmla="*/ 43772 h 227766"/>
                <a:gd name="connsiteX11" fmla="*/ 231368 w 327509"/>
                <a:gd name="connsiteY11" fmla="*/ 44724 h 227766"/>
                <a:gd name="connsiteX12" fmla="*/ 231368 w 327509"/>
                <a:gd name="connsiteY12" fmla="*/ 44724 h 227766"/>
                <a:gd name="connsiteX13" fmla="*/ 230416 w 327509"/>
                <a:gd name="connsiteY13" fmla="*/ 45675 h 227766"/>
                <a:gd name="connsiteX14" fmla="*/ 225657 w 327509"/>
                <a:gd name="connsiteY14" fmla="*/ 48530 h 227766"/>
                <a:gd name="connsiteX15" fmla="*/ 219945 w 327509"/>
                <a:gd name="connsiteY15" fmla="*/ 51385 h 227766"/>
                <a:gd name="connsiteX16" fmla="*/ 218993 w 327509"/>
                <a:gd name="connsiteY16" fmla="*/ 51385 h 227766"/>
                <a:gd name="connsiteX17" fmla="*/ 219945 w 327509"/>
                <a:gd name="connsiteY17" fmla="*/ 51385 h 227766"/>
                <a:gd name="connsiteX18" fmla="*/ 220897 w 327509"/>
                <a:gd name="connsiteY18" fmla="*/ 53288 h 227766"/>
                <a:gd name="connsiteX19" fmla="*/ 220897 w 327509"/>
                <a:gd name="connsiteY19" fmla="*/ 53288 h 227766"/>
                <a:gd name="connsiteX20" fmla="*/ 219945 w 327509"/>
                <a:gd name="connsiteY20" fmla="*/ 54239 h 227766"/>
                <a:gd name="connsiteX21" fmla="*/ 218041 w 327509"/>
                <a:gd name="connsiteY21" fmla="*/ 56143 h 227766"/>
                <a:gd name="connsiteX22" fmla="*/ 213282 w 327509"/>
                <a:gd name="connsiteY22" fmla="*/ 60900 h 227766"/>
                <a:gd name="connsiteX23" fmla="*/ 218993 w 327509"/>
                <a:gd name="connsiteY23" fmla="*/ 59949 h 227766"/>
                <a:gd name="connsiteX24" fmla="*/ 215186 w 327509"/>
                <a:gd name="connsiteY24" fmla="*/ 61852 h 227766"/>
                <a:gd name="connsiteX25" fmla="*/ 203763 w 327509"/>
                <a:gd name="connsiteY25" fmla="*/ 75174 h 227766"/>
                <a:gd name="connsiteX26" fmla="*/ 199003 w 327509"/>
                <a:gd name="connsiteY26" fmla="*/ 77077 h 227766"/>
                <a:gd name="connsiteX27" fmla="*/ 199955 w 327509"/>
                <a:gd name="connsiteY27" fmla="*/ 77077 h 227766"/>
                <a:gd name="connsiteX28" fmla="*/ 174254 w 327509"/>
                <a:gd name="connsiteY28" fmla="*/ 98011 h 227766"/>
                <a:gd name="connsiteX29" fmla="*/ 171398 w 327509"/>
                <a:gd name="connsiteY29" fmla="*/ 98963 h 227766"/>
                <a:gd name="connsiteX30" fmla="*/ 164735 w 327509"/>
                <a:gd name="connsiteY30" fmla="*/ 105624 h 227766"/>
                <a:gd name="connsiteX31" fmla="*/ 160927 w 327509"/>
                <a:gd name="connsiteY31" fmla="*/ 105624 h 227766"/>
                <a:gd name="connsiteX32" fmla="*/ 146649 w 327509"/>
                <a:gd name="connsiteY32" fmla="*/ 120849 h 227766"/>
                <a:gd name="connsiteX33" fmla="*/ 91439 w 327509"/>
                <a:gd name="connsiteY33" fmla="*/ 170331 h 227766"/>
                <a:gd name="connsiteX34" fmla="*/ 92391 w 327509"/>
                <a:gd name="connsiteY34" fmla="*/ 170331 h 227766"/>
                <a:gd name="connsiteX35" fmla="*/ 73353 w 327509"/>
                <a:gd name="connsiteY35" fmla="*/ 189362 h 227766"/>
                <a:gd name="connsiteX36" fmla="*/ 60978 w 327509"/>
                <a:gd name="connsiteY36" fmla="*/ 207442 h 227766"/>
                <a:gd name="connsiteX37" fmla="*/ 46699 w 327509"/>
                <a:gd name="connsiteY37" fmla="*/ 222667 h 227766"/>
                <a:gd name="connsiteX38" fmla="*/ 45747 w 327509"/>
                <a:gd name="connsiteY38" fmla="*/ 227425 h 227766"/>
                <a:gd name="connsiteX39" fmla="*/ 55266 w 327509"/>
                <a:gd name="connsiteY39" fmla="*/ 221715 h 227766"/>
                <a:gd name="connsiteX40" fmla="*/ 55266 w 327509"/>
                <a:gd name="connsiteY40" fmla="*/ 221715 h 227766"/>
                <a:gd name="connsiteX41" fmla="*/ 110477 w 327509"/>
                <a:gd name="connsiteY41" fmla="*/ 182701 h 227766"/>
                <a:gd name="connsiteX42" fmla="*/ 146649 w 327509"/>
                <a:gd name="connsiteY42" fmla="*/ 152251 h 227766"/>
                <a:gd name="connsiteX43" fmla="*/ 183773 w 327509"/>
                <a:gd name="connsiteY43" fmla="*/ 118946 h 227766"/>
                <a:gd name="connsiteX44" fmla="*/ 191388 w 327509"/>
                <a:gd name="connsiteY44" fmla="*/ 114188 h 227766"/>
                <a:gd name="connsiteX45" fmla="*/ 226608 w 327509"/>
                <a:gd name="connsiteY45" fmla="*/ 84690 h 227766"/>
                <a:gd name="connsiteX46" fmla="*/ 225657 w 327509"/>
                <a:gd name="connsiteY46" fmla="*/ 84690 h 227766"/>
                <a:gd name="connsiteX47" fmla="*/ 234224 w 327509"/>
                <a:gd name="connsiteY47" fmla="*/ 78029 h 227766"/>
                <a:gd name="connsiteX48" fmla="*/ 238983 w 327509"/>
                <a:gd name="connsiteY48" fmla="*/ 75174 h 227766"/>
                <a:gd name="connsiteX49" fmla="*/ 240887 w 327509"/>
                <a:gd name="connsiteY49" fmla="*/ 73271 h 227766"/>
                <a:gd name="connsiteX50" fmla="*/ 244695 w 327509"/>
                <a:gd name="connsiteY50" fmla="*/ 70416 h 227766"/>
                <a:gd name="connsiteX51" fmla="*/ 246598 w 327509"/>
                <a:gd name="connsiteY51" fmla="*/ 68513 h 227766"/>
                <a:gd name="connsiteX52" fmla="*/ 275155 w 327509"/>
                <a:gd name="connsiteY52" fmla="*/ 43772 h 227766"/>
                <a:gd name="connsiteX53" fmla="*/ 300857 w 327509"/>
                <a:gd name="connsiteY53" fmla="*/ 20934 h 227766"/>
                <a:gd name="connsiteX54" fmla="*/ 302760 w 327509"/>
                <a:gd name="connsiteY54" fmla="*/ 19031 h 227766"/>
                <a:gd name="connsiteX55" fmla="*/ 320847 w 327509"/>
                <a:gd name="connsiteY55" fmla="*/ 5709 h 227766"/>
                <a:gd name="connsiteX56" fmla="*/ 325606 w 327509"/>
                <a:gd name="connsiteY56" fmla="*/ 1903 h 227766"/>
                <a:gd name="connsiteX57" fmla="*/ 326558 w 327509"/>
                <a:gd name="connsiteY57" fmla="*/ 951 h 227766"/>
                <a:gd name="connsiteX58" fmla="*/ 327510 w 327509"/>
                <a:gd name="connsiteY58" fmla="*/ 0 h 227766"/>
                <a:gd name="connsiteX59" fmla="*/ 325606 w 327509"/>
                <a:gd name="connsiteY59" fmla="*/ 0 h 227766"/>
                <a:gd name="connsiteX60" fmla="*/ 318943 w 327509"/>
                <a:gd name="connsiteY60" fmla="*/ 0 h 227766"/>
                <a:gd name="connsiteX61" fmla="*/ 285626 w 327509"/>
                <a:gd name="connsiteY61" fmla="*/ 3806 h 227766"/>
                <a:gd name="connsiteX62" fmla="*/ 265636 w 327509"/>
                <a:gd name="connsiteY62" fmla="*/ 10467 h 227766"/>
                <a:gd name="connsiteX63" fmla="*/ 255165 w 327509"/>
                <a:gd name="connsiteY63" fmla="*/ 13322 h 227766"/>
                <a:gd name="connsiteX64" fmla="*/ 244695 w 327509"/>
                <a:gd name="connsiteY64" fmla="*/ 12370 h 227766"/>
                <a:gd name="connsiteX65" fmla="*/ 243743 w 327509"/>
                <a:gd name="connsiteY65" fmla="*/ 14274 h 227766"/>
                <a:gd name="connsiteX66" fmla="*/ 216138 w 327509"/>
                <a:gd name="connsiteY66" fmla="*/ 19983 h 227766"/>
                <a:gd name="connsiteX67" fmla="*/ 213282 w 327509"/>
                <a:gd name="connsiteY67" fmla="*/ 20934 h 227766"/>
                <a:gd name="connsiteX68" fmla="*/ 211378 w 327509"/>
                <a:gd name="connsiteY68" fmla="*/ 21886 h 227766"/>
                <a:gd name="connsiteX69" fmla="*/ 207570 w 327509"/>
                <a:gd name="connsiteY69" fmla="*/ 22838 h 227766"/>
                <a:gd name="connsiteX70" fmla="*/ 202811 w 327509"/>
                <a:gd name="connsiteY70" fmla="*/ 22838 h 227766"/>
                <a:gd name="connsiteX71" fmla="*/ 192340 w 327509"/>
                <a:gd name="connsiteY71" fmla="*/ 23789 h 227766"/>
                <a:gd name="connsiteX72" fmla="*/ 176158 w 327509"/>
                <a:gd name="connsiteY72" fmla="*/ 28547 h 227766"/>
                <a:gd name="connsiteX73" fmla="*/ 177110 w 327509"/>
                <a:gd name="connsiteY73" fmla="*/ 28547 h 227766"/>
                <a:gd name="connsiteX74" fmla="*/ 159024 w 327509"/>
                <a:gd name="connsiteY74" fmla="*/ 28547 h 227766"/>
                <a:gd name="connsiteX75" fmla="*/ 102861 w 327509"/>
                <a:gd name="connsiteY75" fmla="*/ 37111 h 227766"/>
                <a:gd name="connsiteX76" fmla="*/ 106669 w 327509"/>
                <a:gd name="connsiteY76" fmla="*/ 38063 h 227766"/>
                <a:gd name="connsiteX77" fmla="*/ 76208 w 327509"/>
                <a:gd name="connsiteY77" fmla="*/ 39966 h 227766"/>
                <a:gd name="connsiteX78" fmla="*/ 71449 w 327509"/>
                <a:gd name="connsiteY78" fmla="*/ 39014 h 227766"/>
                <a:gd name="connsiteX79" fmla="*/ 67641 w 327509"/>
                <a:gd name="connsiteY79" fmla="*/ 39966 h 227766"/>
                <a:gd name="connsiteX80" fmla="*/ 66689 w 327509"/>
                <a:gd name="connsiteY80" fmla="*/ 39014 h 227766"/>
                <a:gd name="connsiteX81" fmla="*/ 58122 w 327509"/>
                <a:gd name="connsiteY81" fmla="*/ 39014 h 227766"/>
                <a:gd name="connsiteX82" fmla="*/ 55266 w 327509"/>
                <a:gd name="connsiteY82" fmla="*/ 39966 h 227766"/>
                <a:gd name="connsiteX83" fmla="*/ 51459 w 327509"/>
                <a:gd name="connsiteY83" fmla="*/ 39014 h 227766"/>
                <a:gd name="connsiteX84" fmla="*/ 51459 w 327509"/>
                <a:gd name="connsiteY84" fmla="*/ 39014 h 227766"/>
                <a:gd name="connsiteX85" fmla="*/ 49555 w 327509"/>
                <a:gd name="connsiteY85" fmla="*/ 39014 h 227766"/>
                <a:gd name="connsiteX86" fmla="*/ 35277 w 327509"/>
                <a:gd name="connsiteY86" fmla="*/ 45675 h 227766"/>
                <a:gd name="connsiteX87" fmla="*/ 34325 w 327509"/>
                <a:gd name="connsiteY87" fmla="*/ 45675 h 227766"/>
                <a:gd name="connsiteX88" fmla="*/ 32421 w 327509"/>
                <a:gd name="connsiteY88" fmla="*/ 47578 h 227766"/>
                <a:gd name="connsiteX89" fmla="*/ 30517 w 327509"/>
                <a:gd name="connsiteY89" fmla="*/ 47578 h 227766"/>
                <a:gd name="connsiteX90" fmla="*/ 30517 w 327509"/>
                <a:gd name="connsiteY90" fmla="*/ 47578 h 227766"/>
                <a:gd name="connsiteX91" fmla="*/ 28613 w 327509"/>
                <a:gd name="connsiteY91" fmla="*/ 47578 h 227766"/>
                <a:gd name="connsiteX92" fmla="*/ 28613 w 327509"/>
                <a:gd name="connsiteY92" fmla="*/ 46627 h 227766"/>
                <a:gd name="connsiteX93" fmla="*/ 24806 w 327509"/>
                <a:gd name="connsiteY93" fmla="*/ 47578 h 227766"/>
                <a:gd name="connsiteX94" fmla="*/ 37180 w 327509"/>
                <a:gd name="connsiteY94" fmla="*/ 49482 h 227766"/>
                <a:gd name="connsiteX95" fmla="*/ 31469 w 327509"/>
                <a:gd name="connsiteY95" fmla="*/ 50433 h 227766"/>
                <a:gd name="connsiteX96" fmla="*/ 21950 w 327509"/>
                <a:gd name="connsiteY96" fmla="*/ 49482 h 227766"/>
                <a:gd name="connsiteX97" fmla="*/ 19094 w 327509"/>
                <a:gd name="connsiteY97" fmla="*/ 50433 h 227766"/>
                <a:gd name="connsiteX98" fmla="*/ 16239 w 327509"/>
                <a:gd name="connsiteY98" fmla="*/ 50433 h 227766"/>
                <a:gd name="connsiteX99" fmla="*/ 20998 w 327509"/>
                <a:gd name="connsiteY99" fmla="*/ 49482 h 227766"/>
                <a:gd name="connsiteX100" fmla="*/ 16239 w 327509"/>
                <a:gd name="connsiteY100" fmla="*/ 48530 h 227766"/>
                <a:gd name="connsiteX101" fmla="*/ 10527 w 327509"/>
                <a:gd name="connsiteY101" fmla="*/ 49482 h 227766"/>
                <a:gd name="connsiteX102" fmla="*/ 7672 w 327509"/>
                <a:gd name="connsiteY102" fmla="*/ 48530 h 227766"/>
                <a:gd name="connsiteX103" fmla="*/ 5768 w 327509"/>
                <a:gd name="connsiteY103" fmla="*/ 49482 h 227766"/>
                <a:gd name="connsiteX104" fmla="*/ 9575 w 327509"/>
                <a:gd name="connsiteY104" fmla="*/ 51385 h 227766"/>
                <a:gd name="connsiteX105" fmla="*/ 4816 w 327509"/>
                <a:gd name="connsiteY105" fmla="*/ 51385 h 227766"/>
                <a:gd name="connsiteX106" fmla="*/ 4816 w 327509"/>
                <a:gd name="connsiteY106" fmla="*/ 52336 h 227766"/>
                <a:gd name="connsiteX107" fmla="*/ 1008 w 327509"/>
                <a:gd name="connsiteY107" fmla="*/ 52336 h 227766"/>
                <a:gd name="connsiteX108" fmla="*/ 1960 w 327509"/>
                <a:gd name="connsiteY108" fmla="*/ 52336 h 227766"/>
                <a:gd name="connsiteX109" fmla="*/ 9575 w 327509"/>
                <a:gd name="connsiteY109" fmla="*/ 47578 h 227766"/>
                <a:gd name="connsiteX110" fmla="*/ 56 w 327509"/>
                <a:gd name="connsiteY110" fmla="*/ 52336 h 227766"/>
                <a:gd name="connsiteX111" fmla="*/ 1008 w 327509"/>
                <a:gd name="connsiteY111" fmla="*/ 54239 h 227766"/>
                <a:gd name="connsiteX112" fmla="*/ 1960 w 327509"/>
                <a:gd name="connsiteY112" fmla="*/ 53288 h 227766"/>
                <a:gd name="connsiteX113" fmla="*/ 3864 w 327509"/>
                <a:gd name="connsiteY113" fmla="*/ 55191 h 227766"/>
                <a:gd name="connsiteX114" fmla="*/ 9575 w 327509"/>
                <a:gd name="connsiteY114" fmla="*/ 50433 h 227766"/>
                <a:gd name="connsiteX115" fmla="*/ 10527 w 327509"/>
                <a:gd name="connsiteY115" fmla="*/ 50433 h 227766"/>
                <a:gd name="connsiteX116" fmla="*/ 5768 w 327509"/>
                <a:gd name="connsiteY116" fmla="*/ 51385 h 227766"/>
                <a:gd name="connsiteX117" fmla="*/ 2912 w 327509"/>
                <a:gd name="connsiteY117" fmla="*/ 53288 h 227766"/>
                <a:gd name="connsiteX118" fmla="*/ 2912 w 327509"/>
                <a:gd name="connsiteY118" fmla="*/ 53288 h 227766"/>
                <a:gd name="connsiteX119" fmla="*/ 1008 w 327509"/>
                <a:gd name="connsiteY119" fmla="*/ 54239 h 227766"/>
                <a:gd name="connsiteX120" fmla="*/ 3864 w 327509"/>
                <a:gd name="connsiteY120" fmla="*/ 61852 h 227766"/>
                <a:gd name="connsiteX121" fmla="*/ 7672 w 327509"/>
                <a:gd name="connsiteY121" fmla="*/ 59949 h 227766"/>
                <a:gd name="connsiteX122" fmla="*/ 11479 w 327509"/>
                <a:gd name="connsiteY122" fmla="*/ 61852 h 227766"/>
                <a:gd name="connsiteX123" fmla="*/ 12431 w 327509"/>
                <a:gd name="connsiteY123" fmla="*/ 60900 h 227766"/>
                <a:gd name="connsiteX124" fmla="*/ 15287 w 327509"/>
                <a:gd name="connsiteY124" fmla="*/ 61852 h 227766"/>
                <a:gd name="connsiteX125" fmla="*/ 19094 w 327509"/>
                <a:gd name="connsiteY125" fmla="*/ 61852 h 227766"/>
                <a:gd name="connsiteX126" fmla="*/ 20046 w 327509"/>
                <a:gd name="connsiteY126" fmla="*/ 60900 h 227766"/>
                <a:gd name="connsiteX127" fmla="*/ 27661 w 327509"/>
                <a:gd name="connsiteY127" fmla="*/ 60900 h 227766"/>
                <a:gd name="connsiteX128" fmla="*/ 29565 w 327509"/>
                <a:gd name="connsiteY128" fmla="*/ 63755 h 227766"/>
                <a:gd name="connsiteX129" fmla="*/ 26709 w 327509"/>
                <a:gd name="connsiteY129" fmla="*/ 61852 h 227766"/>
                <a:gd name="connsiteX130" fmla="*/ 22902 w 327509"/>
                <a:gd name="connsiteY130" fmla="*/ 63755 h 227766"/>
                <a:gd name="connsiteX131" fmla="*/ 28613 w 327509"/>
                <a:gd name="connsiteY131" fmla="*/ 63755 h 227766"/>
                <a:gd name="connsiteX132" fmla="*/ 28613 w 327509"/>
                <a:gd name="connsiteY132" fmla="*/ 63755 h 227766"/>
                <a:gd name="connsiteX133" fmla="*/ 35277 w 327509"/>
                <a:gd name="connsiteY133" fmla="*/ 63755 h 227766"/>
                <a:gd name="connsiteX134" fmla="*/ 34325 w 327509"/>
                <a:gd name="connsiteY134" fmla="*/ 64707 h 227766"/>
                <a:gd name="connsiteX135" fmla="*/ 37180 w 327509"/>
                <a:gd name="connsiteY135" fmla="*/ 64707 h 227766"/>
                <a:gd name="connsiteX136" fmla="*/ 37180 w 327509"/>
                <a:gd name="connsiteY136" fmla="*/ 63755 h 227766"/>
                <a:gd name="connsiteX137" fmla="*/ 40036 w 327509"/>
                <a:gd name="connsiteY137" fmla="*/ 63755 h 227766"/>
                <a:gd name="connsiteX138" fmla="*/ 52411 w 327509"/>
                <a:gd name="connsiteY138" fmla="*/ 59949 h 227766"/>
                <a:gd name="connsiteX139" fmla="*/ 56218 w 327509"/>
                <a:gd name="connsiteY139" fmla="*/ 59949 h 227766"/>
                <a:gd name="connsiteX140" fmla="*/ 42892 w 327509"/>
                <a:gd name="connsiteY140" fmla="*/ 63755 h 227766"/>
                <a:gd name="connsiteX141" fmla="*/ 62882 w 327509"/>
                <a:gd name="connsiteY141" fmla="*/ 58997 h 227766"/>
                <a:gd name="connsiteX142" fmla="*/ 64785 w 327509"/>
                <a:gd name="connsiteY142" fmla="*/ 58046 h 227766"/>
                <a:gd name="connsiteX143" fmla="*/ 65737 w 327509"/>
                <a:gd name="connsiteY143" fmla="*/ 59949 h 227766"/>
                <a:gd name="connsiteX144" fmla="*/ 65737 w 327509"/>
                <a:gd name="connsiteY144" fmla="*/ 59949 h 227766"/>
                <a:gd name="connsiteX145" fmla="*/ 67641 w 327509"/>
                <a:gd name="connsiteY145" fmla="*/ 60900 h 227766"/>
                <a:gd name="connsiteX146" fmla="*/ 79064 w 327509"/>
                <a:gd name="connsiteY146" fmla="*/ 58046 h 227766"/>
                <a:gd name="connsiteX147" fmla="*/ 75256 w 327509"/>
                <a:gd name="connsiteY147" fmla="*/ 60900 h 227766"/>
                <a:gd name="connsiteX148" fmla="*/ 75256 w 327509"/>
                <a:gd name="connsiteY148" fmla="*/ 60900 h 227766"/>
                <a:gd name="connsiteX149" fmla="*/ 73353 w 327509"/>
                <a:gd name="connsiteY149" fmla="*/ 61852 h 227766"/>
                <a:gd name="connsiteX150" fmla="*/ 79064 w 327509"/>
                <a:gd name="connsiteY150" fmla="*/ 60900 h 227766"/>
                <a:gd name="connsiteX151" fmla="*/ 80016 w 327509"/>
                <a:gd name="connsiteY151" fmla="*/ 60900 h 227766"/>
                <a:gd name="connsiteX152" fmla="*/ 80016 w 327509"/>
                <a:gd name="connsiteY152" fmla="*/ 60900 h 227766"/>
                <a:gd name="connsiteX153" fmla="*/ 80968 w 327509"/>
                <a:gd name="connsiteY153" fmla="*/ 61852 h 227766"/>
                <a:gd name="connsiteX154" fmla="*/ 80968 w 327509"/>
                <a:gd name="connsiteY154" fmla="*/ 61852 h 227766"/>
                <a:gd name="connsiteX155" fmla="*/ 93342 w 327509"/>
                <a:gd name="connsiteY155" fmla="*/ 59949 h 227766"/>
                <a:gd name="connsiteX156" fmla="*/ 94294 w 327509"/>
                <a:gd name="connsiteY156" fmla="*/ 58997 h 227766"/>
                <a:gd name="connsiteX157" fmla="*/ 105717 w 327509"/>
                <a:gd name="connsiteY157" fmla="*/ 58997 h 227766"/>
                <a:gd name="connsiteX158" fmla="*/ 104765 w 327509"/>
                <a:gd name="connsiteY158" fmla="*/ 57094 h 227766"/>
                <a:gd name="connsiteX159" fmla="*/ 107621 w 327509"/>
                <a:gd name="connsiteY159" fmla="*/ 57094 h 227766"/>
                <a:gd name="connsiteX160" fmla="*/ 111429 w 327509"/>
                <a:gd name="connsiteY160" fmla="*/ 60900 h 227766"/>
                <a:gd name="connsiteX161" fmla="*/ 116188 w 327509"/>
                <a:gd name="connsiteY161" fmla="*/ 60900 h 227766"/>
                <a:gd name="connsiteX162" fmla="*/ 119044 w 327509"/>
                <a:gd name="connsiteY162" fmla="*/ 58997 h 227766"/>
                <a:gd name="connsiteX163" fmla="*/ 123803 w 327509"/>
                <a:gd name="connsiteY163" fmla="*/ 58997 h 227766"/>
                <a:gd name="connsiteX164" fmla="*/ 123803 w 327509"/>
                <a:gd name="connsiteY164" fmla="*/ 60900 h 227766"/>
                <a:gd name="connsiteX165" fmla="*/ 131418 w 327509"/>
                <a:gd name="connsiteY165" fmla="*/ 60900 h 227766"/>
                <a:gd name="connsiteX166" fmla="*/ 138082 w 327509"/>
                <a:gd name="connsiteY166" fmla="*/ 58046 h 227766"/>
                <a:gd name="connsiteX167" fmla="*/ 139034 w 327509"/>
                <a:gd name="connsiteY167" fmla="*/ 58997 h 2277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327509" h="227766">
                  <a:moveTo>
                    <a:pt x="139034" y="58997"/>
                  </a:moveTo>
                  <a:lnTo>
                    <a:pt x="141889" y="58997"/>
                  </a:lnTo>
                  <a:cubicBezTo>
                    <a:pt x="133322" y="60900"/>
                    <a:pt x="124755" y="60900"/>
                    <a:pt x="116188" y="61852"/>
                  </a:cubicBezTo>
                  <a:cubicBezTo>
                    <a:pt x="135226" y="63755"/>
                    <a:pt x="158072" y="63755"/>
                    <a:pt x="170446" y="51385"/>
                  </a:cubicBezTo>
                  <a:cubicBezTo>
                    <a:pt x="173302" y="56143"/>
                    <a:pt x="191388" y="55191"/>
                    <a:pt x="191388" y="54239"/>
                  </a:cubicBezTo>
                  <a:cubicBezTo>
                    <a:pt x="195196" y="52336"/>
                    <a:pt x="199003" y="51385"/>
                    <a:pt x="201859" y="50433"/>
                  </a:cubicBezTo>
                  <a:cubicBezTo>
                    <a:pt x="199003" y="51385"/>
                    <a:pt x="197100" y="52336"/>
                    <a:pt x="194244" y="53288"/>
                  </a:cubicBezTo>
                  <a:cubicBezTo>
                    <a:pt x="197100" y="52336"/>
                    <a:pt x="199003" y="51385"/>
                    <a:pt x="201859" y="50433"/>
                  </a:cubicBezTo>
                  <a:cubicBezTo>
                    <a:pt x="204715" y="49482"/>
                    <a:pt x="207570" y="48530"/>
                    <a:pt x="210426" y="47578"/>
                  </a:cubicBezTo>
                  <a:cubicBezTo>
                    <a:pt x="213282" y="46627"/>
                    <a:pt x="217089" y="45675"/>
                    <a:pt x="218041" y="45675"/>
                  </a:cubicBezTo>
                  <a:cubicBezTo>
                    <a:pt x="219945" y="44724"/>
                    <a:pt x="222801" y="44724"/>
                    <a:pt x="224705" y="43772"/>
                  </a:cubicBezTo>
                  <a:cubicBezTo>
                    <a:pt x="228512" y="42821"/>
                    <a:pt x="231368" y="43772"/>
                    <a:pt x="231368" y="44724"/>
                  </a:cubicBezTo>
                  <a:lnTo>
                    <a:pt x="231368" y="44724"/>
                  </a:lnTo>
                  <a:cubicBezTo>
                    <a:pt x="231368" y="44724"/>
                    <a:pt x="232320" y="44724"/>
                    <a:pt x="230416" y="45675"/>
                  </a:cubicBezTo>
                  <a:cubicBezTo>
                    <a:pt x="228512" y="46627"/>
                    <a:pt x="227560" y="47578"/>
                    <a:pt x="225657" y="48530"/>
                  </a:cubicBezTo>
                  <a:cubicBezTo>
                    <a:pt x="222801" y="50433"/>
                    <a:pt x="220897" y="51385"/>
                    <a:pt x="219945" y="51385"/>
                  </a:cubicBezTo>
                  <a:lnTo>
                    <a:pt x="218993" y="51385"/>
                  </a:lnTo>
                  <a:cubicBezTo>
                    <a:pt x="219945" y="51385"/>
                    <a:pt x="219945" y="51385"/>
                    <a:pt x="219945" y="51385"/>
                  </a:cubicBezTo>
                  <a:cubicBezTo>
                    <a:pt x="220897" y="51385"/>
                    <a:pt x="220897" y="52336"/>
                    <a:pt x="220897" y="53288"/>
                  </a:cubicBezTo>
                  <a:lnTo>
                    <a:pt x="220897" y="53288"/>
                  </a:lnTo>
                  <a:lnTo>
                    <a:pt x="219945" y="54239"/>
                  </a:lnTo>
                  <a:lnTo>
                    <a:pt x="218041" y="56143"/>
                  </a:lnTo>
                  <a:cubicBezTo>
                    <a:pt x="216138" y="58046"/>
                    <a:pt x="215186" y="58997"/>
                    <a:pt x="213282" y="60900"/>
                  </a:cubicBezTo>
                  <a:cubicBezTo>
                    <a:pt x="215186" y="60900"/>
                    <a:pt x="215186" y="60900"/>
                    <a:pt x="218993" y="59949"/>
                  </a:cubicBezTo>
                  <a:lnTo>
                    <a:pt x="215186" y="61852"/>
                  </a:lnTo>
                  <a:cubicBezTo>
                    <a:pt x="213282" y="65658"/>
                    <a:pt x="206619" y="71368"/>
                    <a:pt x="203763" y="75174"/>
                  </a:cubicBezTo>
                  <a:cubicBezTo>
                    <a:pt x="203763" y="74222"/>
                    <a:pt x="200907" y="76126"/>
                    <a:pt x="199003" y="77077"/>
                  </a:cubicBezTo>
                  <a:lnTo>
                    <a:pt x="199955" y="77077"/>
                  </a:lnTo>
                  <a:cubicBezTo>
                    <a:pt x="191388" y="83738"/>
                    <a:pt x="181869" y="92302"/>
                    <a:pt x="174254" y="98011"/>
                  </a:cubicBezTo>
                  <a:cubicBezTo>
                    <a:pt x="173302" y="98963"/>
                    <a:pt x="172350" y="98963"/>
                    <a:pt x="171398" y="98963"/>
                  </a:cubicBezTo>
                  <a:lnTo>
                    <a:pt x="164735" y="105624"/>
                  </a:lnTo>
                  <a:cubicBezTo>
                    <a:pt x="164735" y="103721"/>
                    <a:pt x="158072" y="109430"/>
                    <a:pt x="160927" y="105624"/>
                  </a:cubicBezTo>
                  <a:cubicBezTo>
                    <a:pt x="156168" y="111334"/>
                    <a:pt x="150456" y="115140"/>
                    <a:pt x="146649" y="120849"/>
                  </a:cubicBezTo>
                  <a:cubicBezTo>
                    <a:pt x="127611" y="136074"/>
                    <a:pt x="108573" y="153203"/>
                    <a:pt x="91439" y="170331"/>
                  </a:cubicBezTo>
                  <a:lnTo>
                    <a:pt x="92391" y="170331"/>
                  </a:lnTo>
                  <a:cubicBezTo>
                    <a:pt x="86679" y="176992"/>
                    <a:pt x="81920" y="183653"/>
                    <a:pt x="73353" y="189362"/>
                  </a:cubicBezTo>
                  <a:cubicBezTo>
                    <a:pt x="68593" y="196023"/>
                    <a:pt x="60978" y="203636"/>
                    <a:pt x="60978" y="207442"/>
                  </a:cubicBezTo>
                  <a:cubicBezTo>
                    <a:pt x="54315" y="213151"/>
                    <a:pt x="52411" y="216958"/>
                    <a:pt x="46699" y="222667"/>
                  </a:cubicBezTo>
                  <a:cubicBezTo>
                    <a:pt x="49555" y="222667"/>
                    <a:pt x="41940" y="229328"/>
                    <a:pt x="45747" y="227425"/>
                  </a:cubicBezTo>
                  <a:cubicBezTo>
                    <a:pt x="51459" y="225522"/>
                    <a:pt x="50507" y="223619"/>
                    <a:pt x="55266" y="221715"/>
                  </a:cubicBezTo>
                  <a:lnTo>
                    <a:pt x="55266" y="221715"/>
                  </a:lnTo>
                  <a:cubicBezTo>
                    <a:pt x="74304" y="209345"/>
                    <a:pt x="92391" y="196023"/>
                    <a:pt x="110477" y="182701"/>
                  </a:cubicBezTo>
                  <a:cubicBezTo>
                    <a:pt x="121899" y="172234"/>
                    <a:pt x="135226" y="162718"/>
                    <a:pt x="146649" y="152251"/>
                  </a:cubicBezTo>
                  <a:cubicBezTo>
                    <a:pt x="159024" y="140832"/>
                    <a:pt x="173302" y="128462"/>
                    <a:pt x="183773" y="118946"/>
                  </a:cubicBezTo>
                  <a:cubicBezTo>
                    <a:pt x="186629" y="116091"/>
                    <a:pt x="188532" y="116091"/>
                    <a:pt x="191388" y="114188"/>
                  </a:cubicBezTo>
                  <a:cubicBezTo>
                    <a:pt x="200907" y="105624"/>
                    <a:pt x="215186" y="95157"/>
                    <a:pt x="226608" y="84690"/>
                  </a:cubicBezTo>
                  <a:cubicBezTo>
                    <a:pt x="226608" y="84690"/>
                    <a:pt x="226608" y="84690"/>
                    <a:pt x="225657" y="84690"/>
                  </a:cubicBezTo>
                  <a:cubicBezTo>
                    <a:pt x="228512" y="81835"/>
                    <a:pt x="231368" y="79932"/>
                    <a:pt x="234224" y="78029"/>
                  </a:cubicBezTo>
                  <a:lnTo>
                    <a:pt x="238983" y="75174"/>
                  </a:lnTo>
                  <a:lnTo>
                    <a:pt x="240887" y="73271"/>
                  </a:lnTo>
                  <a:cubicBezTo>
                    <a:pt x="241839" y="72319"/>
                    <a:pt x="243743" y="71368"/>
                    <a:pt x="244695" y="70416"/>
                  </a:cubicBezTo>
                  <a:cubicBezTo>
                    <a:pt x="244695" y="70416"/>
                    <a:pt x="245646" y="68513"/>
                    <a:pt x="246598" y="68513"/>
                  </a:cubicBezTo>
                  <a:cubicBezTo>
                    <a:pt x="248502" y="68513"/>
                    <a:pt x="262781" y="55191"/>
                    <a:pt x="275155" y="43772"/>
                  </a:cubicBezTo>
                  <a:cubicBezTo>
                    <a:pt x="287530" y="32353"/>
                    <a:pt x="297049" y="22838"/>
                    <a:pt x="300857" y="20934"/>
                  </a:cubicBezTo>
                  <a:lnTo>
                    <a:pt x="302760" y="19031"/>
                  </a:lnTo>
                  <a:cubicBezTo>
                    <a:pt x="308472" y="15225"/>
                    <a:pt x="314183" y="10467"/>
                    <a:pt x="320847" y="5709"/>
                  </a:cubicBezTo>
                  <a:lnTo>
                    <a:pt x="325606" y="1903"/>
                  </a:lnTo>
                  <a:lnTo>
                    <a:pt x="326558" y="951"/>
                  </a:lnTo>
                  <a:lnTo>
                    <a:pt x="327510" y="0"/>
                  </a:lnTo>
                  <a:lnTo>
                    <a:pt x="325606" y="0"/>
                  </a:lnTo>
                  <a:cubicBezTo>
                    <a:pt x="323702" y="0"/>
                    <a:pt x="320847" y="0"/>
                    <a:pt x="318943" y="0"/>
                  </a:cubicBezTo>
                  <a:cubicBezTo>
                    <a:pt x="309424" y="951"/>
                    <a:pt x="298001" y="1903"/>
                    <a:pt x="285626" y="3806"/>
                  </a:cubicBezTo>
                  <a:cubicBezTo>
                    <a:pt x="278963" y="5709"/>
                    <a:pt x="271348" y="7612"/>
                    <a:pt x="265636" y="10467"/>
                  </a:cubicBezTo>
                  <a:cubicBezTo>
                    <a:pt x="262781" y="10467"/>
                    <a:pt x="259925" y="12370"/>
                    <a:pt x="255165" y="13322"/>
                  </a:cubicBezTo>
                  <a:cubicBezTo>
                    <a:pt x="251358" y="11419"/>
                    <a:pt x="246598" y="12370"/>
                    <a:pt x="244695" y="12370"/>
                  </a:cubicBezTo>
                  <a:cubicBezTo>
                    <a:pt x="241839" y="13322"/>
                    <a:pt x="240887" y="14274"/>
                    <a:pt x="243743" y="14274"/>
                  </a:cubicBezTo>
                  <a:cubicBezTo>
                    <a:pt x="233272" y="17128"/>
                    <a:pt x="224705" y="18080"/>
                    <a:pt x="216138" y="19983"/>
                  </a:cubicBezTo>
                  <a:lnTo>
                    <a:pt x="213282" y="20934"/>
                  </a:lnTo>
                  <a:lnTo>
                    <a:pt x="211378" y="21886"/>
                  </a:lnTo>
                  <a:cubicBezTo>
                    <a:pt x="210426" y="21886"/>
                    <a:pt x="208522" y="22838"/>
                    <a:pt x="207570" y="22838"/>
                  </a:cubicBezTo>
                  <a:cubicBezTo>
                    <a:pt x="205667" y="23789"/>
                    <a:pt x="203763" y="22838"/>
                    <a:pt x="202811" y="22838"/>
                  </a:cubicBezTo>
                  <a:cubicBezTo>
                    <a:pt x="197100" y="24741"/>
                    <a:pt x="199003" y="22838"/>
                    <a:pt x="192340" y="23789"/>
                  </a:cubicBezTo>
                  <a:cubicBezTo>
                    <a:pt x="190436" y="22838"/>
                    <a:pt x="178062" y="28547"/>
                    <a:pt x="176158" y="28547"/>
                  </a:cubicBezTo>
                  <a:lnTo>
                    <a:pt x="177110" y="28547"/>
                  </a:lnTo>
                  <a:cubicBezTo>
                    <a:pt x="170446" y="29499"/>
                    <a:pt x="165687" y="27595"/>
                    <a:pt x="159024" y="28547"/>
                  </a:cubicBezTo>
                  <a:cubicBezTo>
                    <a:pt x="139986" y="30450"/>
                    <a:pt x="119996" y="35208"/>
                    <a:pt x="102861" y="37111"/>
                  </a:cubicBezTo>
                  <a:cubicBezTo>
                    <a:pt x="102861" y="39014"/>
                    <a:pt x="106669" y="36160"/>
                    <a:pt x="106669" y="38063"/>
                  </a:cubicBezTo>
                  <a:cubicBezTo>
                    <a:pt x="96198" y="39014"/>
                    <a:pt x="85727" y="39014"/>
                    <a:pt x="76208" y="39966"/>
                  </a:cubicBezTo>
                  <a:cubicBezTo>
                    <a:pt x="74304" y="39966"/>
                    <a:pt x="72401" y="39014"/>
                    <a:pt x="71449" y="39014"/>
                  </a:cubicBezTo>
                  <a:cubicBezTo>
                    <a:pt x="68593" y="39014"/>
                    <a:pt x="69545" y="39966"/>
                    <a:pt x="67641" y="39966"/>
                  </a:cubicBezTo>
                  <a:lnTo>
                    <a:pt x="66689" y="39014"/>
                  </a:lnTo>
                  <a:cubicBezTo>
                    <a:pt x="62882" y="40917"/>
                    <a:pt x="60978" y="38063"/>
                    <a:pt x="58122" y="39014"/>
                  </a:cubicBezTo>
                  <a:cubicBezTo>
                    <a:pt x="58122" y="39966"/>
                    <a:pt x="57170" y="39966"/>
                    <a:pt x="55266" y="39966"/>
                  </a:cubicBezTo>
                  <a:cubicBezTo>
                    <a:pt x="55266" y="39014"/>
                    <a:pt x="51459" y="40917"/>
                    <a:pt x="51459" y="39014"/>
                  </a:cubicBezTo>
                  <a:lnTo>
                    <a:pt x="51459" y="39014"/>
                  </a:lnTo>
                  <a:cubicBezTo>
                    <a:pt x="50507" y="39014"/>
                    <a:pt x="50507" y="39014"/>
                    <a:pt x="49555" y="39014"/>
                  </a:cubicBezTo>
                  <a:cubicBezTo>
                    <a:pt x="48603" y="39966"/>
                    <a:pt x="36228" y="44724"/>
                    <a:pt x="35277" y="45675"/>
                  </a:cubicBezTo>
                  <a:lnTo>
                    <a:pt x="34325" y="45675"/>
                  </a:lnTo>
                  <a:cubicBezTo>
                    <a:pt x="32421" y="45675"/>
                    <a:pt x="31469" y="46627"/>
                    <a:pt x="32421" y="47578"/>
                  </a:cubicBezTo>
                  <a:lnTo>
                    <a:pt x="30517" y="47578"/>
                  </a:lnTo>
                  <a:lnTo>
                    <a:pt x="30517" y="47578"/>
                  </a:lnTo>
                  <a:lnTo>
                    <a:pt x="28613" y="47578"/>
                  </a:lnTo>
                  <a:cubicBezTo>
                    <a:pt x="28613" y="47578"/>
                    <a:pt x="27661" y="46627"/>
                    <a:pt x="28613" y="46627"/>
                  </a:cubicBezTo>
                  <a:cubicBezTo>
                    <a:pt x="27661" y="47578"/>
                    <a:pt x="25758" y="47578"/>
                    <a:pt x="24806" y="47578"/>
                  </a:cubicBezTo>
                  <a:cubicBezTo>
                    <a:pt x="28613" y="48530"/>
                    <a:pt x="33373" y="48530"/>
                    <a:pt x="37180" y="49482"/>
                  </a:cubicBezTo>
                  <a:cubicBezTo>
                    <a:pt x="35277" y="50433"/>
                    <a:pt x="32421" y="49482"/>
                    <a:pt x="31469" y="50433"/>
                  </a:cubicBezTo>
                  <a:cubicBezTo>
                    <a:pt x="29565" y="49482"/>
                    <a:pt x="24806" y="49482"/>
                    <a:pt x="21950" y="49482"/>
                  </a:cubicBezTo>
                  <a:cubicBezTo>
                    <a:pt x="20998" y="49482"/>
                    <a:pt x="20998" y="51385"/>
                    <a:pt x="19094" y="50433"/>
                  </a:cubicBezTo>
                  <a:cubicBezTo>
                    <a:pt x="18142" y="49482"/>
                    <a:pt x="17191" y="50433"/>
                    <a:pt x="16239" y="50433"/>
                  </a:cubicBezTo>
                  <a:cubicBezTo>
                    <a:pt x="18142" y="49482"/>
                    <a:pt x="19094" y="49482"/>
                    <a:pt x="20998" y="49482"/>
                  </a:cubicBezTo>
                  <a:cubicBezTo>
                    <a:pt x="20998" y="48530"/>
                    <a:pt x="17191" y="48530"/>
                    <a:pt x="16239" y="48530"/>
                  </a:cubicBezTo>
                  <a:cubicBezTo>
                    <a:pt x="15287" y="48530"/>
                    <a:pt x="12431" y="48530"/>
                    <a:pt x="10527" y="49482"/>
                  </a:cubicBezTo>
                  <a:cubicBezTo>
                    <a:pt x="11479" y="48530"/>
                    <a:pt x="8623" y="48530"/>
                    <a:pt x="7672" y="48530"/>
                  </a:cubicBezTo>
                  <a:cubicBezTo>
                    <a:pt x="6720" y="48530"/>
                    <a:pt x="5768" y="49482"/>
                    <a:pt x="5768" y="49482"/>
                  </a:cubicBezTo>
                  <a:cubicBezTo>
                    <a:pt x="5768" y="50433"/>
                    <a:pt x="10527" y="49482"/>
                    <a:pt x="9575" y="51385"/>
                  </a:cubicBezTo>
                  <a:cubicBezTo>
                    <a:pt x="8623" y="50433"/>
                    <a:pt x="6720" y="51385"/>
                    <a:pt x="4816" y="51385"/>
                  </a:cubicBezTo>
                  <a:cubicBezTo>
                    <a:pt x="4816" y="52336"/>
                    <a:pt x="5768" y="52336"/>
                    <a:pt x="4816" y="52336"/>
                  </a:cubicBezTo>
                  <a:cubicBezTo>
                    <a:pt x="2912" y="52336"/>
                    <a:pt x="1960" y="53288"/>
                    <a:pt x="1008" y="52336"/>
                  </a:cubicBezTo>
                  <a:lnTo>
                    <a:pt x="1960" y="52336"/>
                  </a:lnTo>
                  <a:cubicBezTo>
                    <a:pt x="56" y="52336"/>
                    <a:pt x="12431" y="46627"/>
                    <a:pt x="9575" y="47578"/>
                  </a:cubicBezTo>
                  <a:cubicBezTo>
                    <a:pt x="10527" y="48530"/>
                    <a:pt x="-896" y="53288"/>
                    <a:pt x="56" y="52336"/>
                  </a:cubicBezTo>
                  <a:cubicBezTo>
                    <a:pt x="1008" y="52336"/>
                    <a:pt x="-896" y="53288"/>
                    <a:pt x="1008" y="54239"/>
                  </a:cubicBezTo>
                  <a:lnTo>
                    <a:pt x="1960" y="53288"/>
                  </a:lnTo>
                  <a:cubicBezTo>
                    <a:pt x="3864" y="53288"/>
                    <a:pt x="4816" y="54239"/>
                    <a:pt x="3864" y="55191"/>
                  </a:cubicBezTo>
                  <a:cubicBezTo>
                    <a:pt x="1008" y="55191"/>
                    <a:pt x="11479" y="49482"/>
                    <a:pt x="9575" y="50433"/>
                  </a:cubicBezTo>
                  <a:lnTo>
                    <a:pt x="10527" y="50433"/>
                  </a:lnTo>
                  <a:cubicBezTo>
                    <a:pt x="9575" y="51385"/>
                    <a:pt x="6720" y="51385"/>
                    <a:pt x="5768" y="51385"/>
                  </a:cubicBezTo>
                  <a:cubicBezTo>
                    <a:pt x="5768" y="52336"/>
                    <a:pt x="4816" y="52336"/>
                    <a:pt x="2912" y="53288"/>
                  </a:cubicBezTo>
                  <a:lnTo>
                    <a:pt x="2912" y="53288"/>
                  </a:lnTo>
                  <a:cubicBezTo>
                    <a:pt x="1960" y="53288"/>
                    <a:pt x="56" y="53288"/>
                    <a:pt x="1008" y="54239"/>
                  </a:cubicBezTo>
                  <a:cubicBezTo>
                    <a:pt x="7672" y="53288"/>
                    <a:pt x="-2799" y="61852"/>
                    <a:pt x="3864" y="61852"/>
                  </a:cubicBezTo>
                  <a:cubicBezTo>
                    <a:pt x="1008" y="60900"/>
                    <a:pt x="4816" y="59949"/>
                    <a:pt x="7672" y="59949"/>
                  </a:cubicBezTo>
                  <a:cubicBezTo>
                    <a:pt x="7672" y="60900"/>
                    <a:pt x="9575" y="60900"/>
                    <a:pt x="11479" y="61852"/>
                  </a:cubicBezTo>
                  <a:cubicBezTo>
                    <a:pt x="13383" y="61852"/>
                    <a:pt x="12431" y="60900"/>
                    <a:pt x="12431" y="60900"/>
                  </a:cubicBezTo>
                  <a:cubicBezTo>
                    <a:pt x="13383" y="60900"/>
                    <a:pt x="15287" y="60900"/>
                    <a:pt x="15287" y="61852"/>
                  </a:cubicBezTo>
                  <a:cubicBezTo>
                    <a:pt x="16239" y="60900"/>
                    <a:pt x="17191" y="61852"/>
                    <a:pt x="19094" y="61852"/>
                  </a:cubicBezTo>
                  <a:cubicBezTo>
                    <a:pt x="20998" y="60900"/>
                    <a:pt x="19094" y="61852"/>
                    <a:pt x="20046" y="60900"/>
                  </a:cubicBezTo>
                  <a:cubicBezTo>
                    <a:pt x="21950" y="60900"/>
                    <a:pt x="25758" y="60900"/>
                    <a:pt x="27661" y="60900"/>
                  </a:cubicBezTo>
                  <a:cubicBezTo>
                    <a:pt x="28613" y="61852"/>
                    <a:pt x="30517" y="62803"/>
                    <a:pt x="29565" y="63755"/>
                  </a:cubicBezTo>
                  <a:cubicBezTo>
                    <a:pt x="25758" y="63755"/>
                    <a:pt x="30517" y="61852"/>
                    <a:pt x="26709" y="61852"/>
                  </a:cubicBezTo>
                  <a:cubicBezTo>
                    <a:pt x="28613" y="63755"/>
                    <a:pt x="23854" y="62803"/>
                    <a:pt x="22902" y="63755"/>
                  </a:cubicBezTo>
                  <a:cubicBezTo>
                    <a:pt x="23854" y="64707"/>
                    <a:pt x="26709" y="63755"/>
                    <a:pt x="28613" y="63755"/>
                  </a:cubicBezTo>
                  <a:lnTo>
                    <a:pt x="28613" y="63755"/>
                  </a:lnTo>
                  <a:cubicBezTo>
                    <a:pt x="30517" y="63755"/>
                    <a:pt x="33373" y="62803"/>
                    <a:pt x="35277" y="63755"/>
                  </a:cubicBezTo>
                  <a:cubicBezTo>
                    <a:pt x="35277" y="64707"/>
                    <a:pt x="36228" y="64707"/>
                    <a:pt x="34325" y="64707"/>
                  </a:cubicBezTo>
                  <a:lnTo>
                    <a:pt x="37180" y="64707"/>
                  </a:lnTo>
                  <a:cubicBezTo>
                    <a:pt x="37180" y="64707"/>
                    <a:pt x="38132" y="64707"/>
                    <a:pt x="37180" y="63755"/>
                  </a:cubicBezTo>
                  <a:cubicBezTo>
                    <a:pt x="38132" y="62803"/>
                    <a:pt x="39084" y="63755"/>
                    <a:pt x="40036" y="63755"/>
                  </a:cubicBezTo>
                  <a:cubicBezTo>
                    <a:pt x="40036" y="64707"/>
                    <a:pt x="52411" y="58997"/>
                    <a:pt x="52411" y="59949"/>
                  </a:cubicBezTo>
                  <a:cubicBezTo>
                    <a:pt x="54315" y="59949"/>
                    <a:pt x="54315" y="60900"/>
                    <a:pt x="56218" y="59949"/>
                  </a:cubicBezTo>
                  <a:cubicBezTo>
                    <a:pt x="56218" y="58997"/>
                    <a:pt x="40036" y="63755"/>
                    <a:pt x="42892" y="63755"/>
                  </a:cubicBezTo>
                  <a:cubicBezTo>
                    <a:pt x="44796" y="64707"/>
                    <a:pt x="61930" y="58046"/>
                    <a:pt x="62882" y="58997"/>
                  </a:cubicBezTo>
                  <a:cubicBezTo>
                    <a:pt x="63834" y="58997"/>
                    <a:pt x="65737" y="58046"/>
                    <a:pt x="64785" y="58046"/>
                  </a:cubicBezTo>
                  <a:cubicBezTo>
                    <a:pt x="66689" y="58046"/>
                    <a:pt x="64785" y="58997"/>
                    <a:pt x="65737" y="59949"/>
                  </a:cubicBezTo>
                  <a:lnTo>
                    <a:pt x="65737" y="59949"/>
                  </a:lnTo>
                  <a:lnTo>
                    <a:pt x="67641" y="60900"/>
                  </a:lnTo>
                  <a:cubicBezTo>
                    <a:pt x="70497" y="58997"/>
                    <a:pt x="76208" y="59949"/>
                    <a:pt x="79064" y="58046"/>
                  </a:cubicBezTo>
                  <a:cubicBezTo>
                    <a:pt x="78112" y="58997"/>
                    <a:pt x="77160" y="59949"/>
                    <a:pt x="75256" y="60900"/>
                  </a:cubicBezTo>
                  <a:lnTo>
                    <a:pt x="75256" y="60900"/>
                  </a:lnTo>
                  <a:lnTo>
                    <a:pt x="73353" y="61852"/>
                  </a:lnTo>
                  <a:cubicBezTo>
                    <a:pt x="75256" y="61852"/>
                    <a:pt x="77160" y="61852"/>
                    <a:pt x="79064" y="60900"/>
                  </a:cubicBezTo>
                  <a:lnTo>
                    <a:pt x="80016" y="60900"/>
                  </a:lnTo>
                  <a:lnTo>
                    <a:pt x="80016" y="60900"/>
                  </a:lnTo>
                  <a:cubicBezTo>
                    <a:pt x="80968" y="60900"/>
                    <a:pt x="80968" y="60900"/>
                    <a:pt x="80968" y="61852"/>
                  </a:cubicBezTo>
                  <a:lnTo>
                    <a:pt x="80968" y="61852"/>
                  </a:lnTo>
                  <a:cubicBezTo>
                    <a:pt x="82872" y="63755"/>
                    <a:pt x="89535" y="58997"/>
                    <a:pt x="93342" y="59949"/>
                  </a:cubicBezTo>
                  <a:cubicBezTo>
                    <a:pt x="94294" y="59949"/>
                    <a:pt x="93342" y="59949"/>
                    <a:pt x="94294" y="58997"/>
                  </a:cubicBezTo>
                  <a:cubicBezTo>
                    <a:pt x="98102" y="58997"/>
                    <a:pt x="100958" y="58997"/>
                    <a:pt x="105717" y="58997"/>
                  </a:cubicBezTo>
                  <a:cubicBezTo>
                    <a:pt x="106669" y="58046"/>
                    <a:pt x="106669" y="58046"/>
                    <a:pt x="104765" y="57094"/>
                  </a:cubicBezTo>
                  <a:lnTo>
                    <a:pt x="107621" y="57094"/>
                  </a:lnTo>
                  <a:cubicBezTo>
                    <a:pt x="104765" y="59949"/>
                    <a:pt x="113332" y="58046"/>
                    <a:pt x="111429" y="60900"/>
                  </a:cubicBezTo>
                  <a:cubicBezTo>
                    <a:pt x="112380" y="60900"/>
                    <a:pt x="114284" y="60900"/>
                    <a:pt x="116188" y="60900"/>
                  </a:cubicBezTo>
                  <a:cubicBezTo>
                    <a:pt x="116188" y="59949"/>
                    <a:pt x="116188" y="58997"/>
                    <a:pt x="119044" y="58997"/>
                  </a:cubicBezTo>
                  <a:cubicBezTo>
                    <a:pt x="121899" y="58997"/>
                    <a:pt x="121899" y="58997"/>
                    <a:pt x="123803" y="58997"/>
                  </a:cubicBezTo>
                  <a:cubicBezTo>
                    <a:pt x="124755" y="59949"/>
                    <a:pt x="123803" y="59949"/>
                    <a:pt x="123803" y="60900"/>
                  </a:cubicBezTo>
                  <a:cubicBezTo>
                    <a:pt x="127611" y="58997"/>
                    <a:pt x="127611" y="61852"/>
                    <a:pt x="131418" y="60900"/>
                  </a:cubicBezTo>
                  <a:cubicBezTo>
                    <a:pt x="133322" y="59949"/>
                    <a:pt x="138082" y="59949"/>
                    <a:pt x="138082" y="58046"/>
                  </a:cubicBezTo>
                  <a:cubicBezTo>
                    <a:pt x="139034" y="57094"/>
                    <a:pt x="139034" y="58046"/>
                    <a:pt x="139034" y="58997"/>
                  </a:cubicBezTo>
                  <a:close/>
                </a:path>
              </a:pathLst>
            </a:custGeom>
            <a:solidFill>
              <a:srgbClr val="144573"/>
            </a:solidFill>
            <a:ln w="951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 sz="2700"/>
            </a:p>
          </p:txBody>
        </p:sp>
      </p:grpSp>
    </p:spTree>
    <p:extLst>
      <p:ext uri="{BB962C8B-B14F-4D97-AF65-F5344CB8AC3E}">
        <p14:creationId xmlns:p14="http://schemas.microsoft.com/office/powerpoint/2010/main" val="11924188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udendørs, bænk, sidder&#10;&#10;Automatisk genereret beskrivelse">
            <a:extLst>
              <a:ext uri="{FF2B5EF4-FFF2-40B4-BE49-F238E27FC236}">
                <a16:creationId xmlns:a16="http://schemas.microsoft.com/office/drawing/2014/main" id="{731A862E-C8E1-AF42-92F3-C4898253E1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E0728A4A-9392-3044-A1DB-26D65B235A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23" name="Titel 9">
            <a:extLst>
              <a:ext uri="{FF2B5EF4-FFF2-40B4-BE49-F238E27FC236}">
                <a16:creationId xmlns:a16="http://schemas.microsoft.com/office/drawing/2014/main" id="{F443A15A-C60D-A744-B381-2453017F91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26" name="Billede 25">
            <a:extLst>
              <a:ext uri="{FF2B5EF4-FFF2-40B4-BE49-F238E27FC236}">
                <a16:creationId xmlns:a16="http://schemas.microsoft.com/office/drawing/2014/main" id="{D00CBDA2-D83C-C64D-8FE0-E7AFC79E13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76586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indendørs, person, barn, sidder&#10;&#10;Automatisk genereret beskrivelse">
            <a:extLst>
              <a:ext uri="{FF2B5EF4-FFF2-40B4-BE49-F238E27FC236}">
                <a16:creationId xmlns:a16="http://schemas.microsoft.com/office/drawing/2014/main" id="{7FC025C4-3C51-2A45-9719-DDD2CC92AC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2FB2E0C-BE4C-8B44-9153-E69F14E1281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D64F0D3D-51BD-EB4A-AF54-E0CD9509F3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958784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araply, person, tilbehør, opbevarer&#10;&#10;Automatisk genereret beskrivelse">
            <a:extLst>
              <a:ext uri="{FF2B5EF4-FFF2-40B4-BE49-F238E27FC236}">
                <a16:creationId xmlns:a16="http://schemas.microsoft.com/office/drawing/2014/main" id="{D11B5318-5D51-FF46-AFA4-AA3E8E7B22B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D436AAE-0CC0-2842-B97D-F213D08176B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C518AE99-3537-9048-8647-3EEBD7036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1077306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græs, felt, får&#10;&#10;Automatisk genereret beskrivelse">
            <a:extLst>
              <a:ext uri="{FF2B5EF4-FFF2-40B4-BE49-F238E27FC236}">
                <a16:creationId xmlns:a16="http://schemas.microsoft.com/office/drawing/2014/main" id="{28037FDD-8966-5E47-91C2-1782A94194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CC8B7C6-4DC1-5C4E-B62C-454EEB2BB5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8D615CE-0B75-DA4C-B19A-F75CC578CB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500941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udendørs, græs, bjerg, mad&#10;&#10;Automatisk genereret beskrivelse">
            <a:extLst>
              <a:ext uri="{FF2B5EF4-FFF2-40B4-BE49-F238E27FC236}">
                <a16:creationId xmlns:a16="http://schemas.microsoft.com/office/drawing/2014/main" id="{0EA045AA-3339-604F-8EB8-940992657D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8288002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E53EFFB-2725-DF45-91C3-4FEDAFF8E7A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F071EF88-57BE-7A41-922C-F13269FBA8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4880743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udendørs, bygning, hegn, by&#10;&#10;Automatisk genereret beskrivelse">
            <a:extLst>
              <a:ext uri="{FF2B5EF4-FFF2-40B4-BE49-F238E27FC236}">
                <a16:creationId xmlns:a16="http://schemas.microsoft.com/office/drawing/2014/main" id="{9605DD56-4AD4-7B47-96A1-120C1DF65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8288000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BE94C62-970B-4746-BEEC-26579458ED5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7D4BF381-4455-B540-8DC5-812DBB345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3047151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 descr="Et billede, der indeholder person, udendørs, bygning, forbereder&#10;&#10;Automatisk genereret beskrivelse">
            <a:extLst>
              <a:ext uri="{FF2B5EF4-FFF2-40B4-BE49-F238E27FC236}">
                <a16:creationId xmlns:a16="http://schemas.microsoft.com/office/drawing/2014/main" id="{40209235-55F1-C34E-9B18-45E743DAE7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0" y="0"/>
            <a:ext cx="18292800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C0AD2C0-AC1A-A542-B630-A0A9A232BA3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D545335C-C562-DA4D-AC43-5CCF4BE5D8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582284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person, indendørs, opbevarer, afspiller&#10;&#10;Automatisk genereret beskrivelse">
            <a:extLst>
              <a:ext uri="{FF2B5EF4-FFF2-40B4-BE49-F238E27FC236}">
                <a16:creationId xmlns:a16="http://schemas.microsoft.com/office/drawing/2014/main" id="{86A135C5-411F-3647-B5F8-69AF5E9E1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4800" y="0"/>
            <a:ext cx="18292800" cy="10287000"/>
          </a:xfrm>
          <a:prstGeom prst="rect">
            <a:avLst/>
          </a:prstGeom>
        </p:spPr>
      </p:pic>
      <p:sp>
        <p:nvSpPr>
          <p:cNvPr id="16" name="Rektangel 15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1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97676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) Indhold - To emner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 hasCustomPrompt="1"/>
          </p:nvPr>
        </p:nvSpPr>
        <p:spPr>
          <a:xfrm>
            <a:off x="3536412" y="2605088"/>
            <a:ext cx="486000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2" name="Pladsholder til tekst 3"/>
          <p:cNvSpPr>
            <a:spLocks noGrp="1"/>
          </p:cNvSpPr>
          <p:nvPr>
            <p:ph type="body" sz="quarter" idx="25" hasCustomPrompt="1"/>
          </p:nvPr>
        </p:nvSpPr>
        <p:spPr>
          <a:xfrm>
            <a:off x="3536412" y="6884633"/>
            <a:ext cx="4860000" cy="382086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3" name="Pladsholder til tekst 3"/>
          <p:cNvSpPr>
            <a:spLocks noGrp="1"/>
          </p:cNvSpPr>
          <p:nvPr>
            <p:ph type="body" sz="quarter" idx="26" hasCustomPrompt="1"/>
          </p:nvPr>
        </p:nvSpPr>
        <p:spPr>
          <a:xfrm>
            <a:off x="3536412" y="7490702"/>
            <a:ext cx="4860000" cy="1588859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7181481A-2E88-8D46-9166-9ED669A424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71600" y="1894457"/>
            <a:ext cx="15544800" cy="297812"/>
          </a:xfrm>
        </p:spPr>
        <p:txBody>
          <a:bodyPr wrap="none" anchor="ctr" anchorCtr="0">
            <a:noAutofit/>
          </a:bodyPr>
          <a:lstStyle>
            <a:lvl1pPr marL="0" indent="0" algn="ctr">
              <a:buNone/>
              <a:defRPr lang="da-DK" sz="2700" b="0" kern="1200" noProof="0" dirty="0" smtClean="0">
                <a:solidFill>
                  <a:srgbClr val="16457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underoverskrift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611C7174-4E01-3847-B4C4-CCC7A05178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F2BF2CA4-3ABA-C14B-868D-D7653200FBC0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891588" y="2612378"/>
            <a:ext cx="4860000" cy="4076099"/>
          </a:xfrm>
          <a:noFill/>
          <a:effectLst/>
        </p:spPr>
        <p:txBody>
          <a:bodyPr anchor="ctr">
            <a:normAutofit/>
          </a:bodyPr>
          <a:lstStyle>
            <a:lvl1pPr marL="0" indent="0" algn="ctr">
              <a:buNone/>
              <a:defRPr sz="2100" baseline="0">
                <a:latin typeface="+mj-lt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4" name="Pladsholder til tekst 3">
            <a:extLst>
              <a:ext uri="{FF2B5EF4-FFF2-40B4-BE49-F238E27FC236}">
                <a16:creationId xmlns:a16="http://schemas.microsoft.com/office/drawing/2014/main" id="{0F516A20-06BF-E442-B335-3C7FA7EEC87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891588" y="6891923"/>
            <a:ext cx="4860000" cy="382086"/>
          </a:xfrm>
        </p:spPr>
        <p:txBody>
          <a:bodyPr anchor="b">
            <a:noAutofit/>
          </a:bodyPr>
          <a:lstStyle>
            <a:lvl1pPr marL="0" indent="0" algn="ctr">
              <a:buNone/>
              <a:defRPr sz="2100" b="1"/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Klik for redigere</a:t>
            </a:r>
          </a:p>
        </p:txBody>
      </p:sp>
      <p:sp>
        <p:nvSpPr>
          <p:cNvPr id="25" name="Pladsholder til tekst 3">
            <a:extLst>
              <a:ext uri="{FF2B5EF4-FFF2-40B4-BE49-F238E27FC236}">
                <a16:creationId xmlns:a16="http://schemas.microsoft.com/office/drawing/2014/main" id="{8D48806D-8505-8F46-82F5-E496FD911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891588" y="7497992"/>
            <a:ext cx="4860000" cy="1588859"/>
          </a:xfrm>
        </p:spPr>
        <p:txBody>
          <a:bodyPr/>
          <a:lstStyle>
            <a:lvl1pPr marL="0" indent="0" algn="ctr">
              <a:buNone/>
              <a:defRPr sz="2100">
                <a:solidFill>
                  <a:srgbClr val="164573"/>
                </a:solidFill>
              </a:defRPr>
            </a:lvl1pPr>
            <a:lvl2pPr marL="685784" indent="0">
              <a:buNone/>
              <a:defRPr/>
            </a:lvl2pPr>
            <a:lvl3pPr marL="1371566" indent="0">
              <a:buNone/>
              <a:defRPr/>
            </a:lvl3pPr>
          </a:lstStyle>
          <a:p>
            <a:pPr lvl="0"/>
            <a:r>
              <a:rPr lang="da-DK"/>
              <a:t>Brødtekst</a:t>
            </a:r>
          </a:p>
        </p:txBody>
      </p:sp>
    </p:spTree>
    <p:extLst>
      <p:ext uri="{BB962C8B-B14F-4D97-AF65-F5344CB8AC3E}">
        <p14:creationId xmlns:p14="http://schemas.microsoft.com/office/powerpoint/2010/main" val="37756703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9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3" descr="D:\Opgaver\EDC Marts 2020\Powerpointskabelon\billeder\ppt_billede_det_handler_om_at_gøre_sig_umage_2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805945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0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Picture 2" descr="D:\Opgaver\EDC Marts 2020\Powerpointskabelon\billeder\ppt_billede_drone_by_frederiksberg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2"/>
            <a:ext cx="18287999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5409525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1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0" name="Picture 2" descr="D:\Opgaver\EDC Marts 2020\Powerpointskabelon\billeder\ppt_billede_par_renover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0153514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2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 descr="D:\Opgaver\EDC Marts 2020\Powerpointskabelon\billeder\ppt_billede_par_ud_af_vindu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8287999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312314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3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D:\Opgaver\EDC Marts 2020\Powerpointskabelon\billeder\ppt_billede_kvinde_i_lejlighe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1"/>
            <a:ext cx="18288002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137348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4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D:\Opgaver\EDC Marts 2020\Powerpointskabelon\billeder\ppt_billede_familie_i_sommerhu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755104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5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D:\Opgaver\EDC Marts 2020\Powerpointskabelon\billeder\ppt_billede_sommerhus_hoet_gras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0469219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6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Picture 2" descr="D:\Opgaver\EDC Marts 2020\Powerpointskabelon\billeder\ppt_billede_kvinde_i_lejlighed_med_te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8288000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0126348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7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8" name="Picture 2" descr="D:\Opgaver\EDC Marts 2020\Powerpointskabelon\billeder\ppt_billede_mand_ruller_taeppe_ud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0"/>
            <a:ext cx="18287999" cy="1028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2511336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18) Nyt afsnit - Melle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3" name="Picture 3" descr="D:\Opgaver\EDC Marts 2020\Powerpointskabelon\billeder\ppt_billede_aeldre_par_maler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" y="1"/>
            <a:ext cx="18287997" cy="10286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100CFB48-2D77-5D47-B256-111068C56A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35AD9C11-7F52-654E-98B4-479A72652B06}"/>
              </a:ext>
            </a:extLst>
          </p:cNvPr>
          <p:cNvSpPr/>
          <p:nvPr userDrawn="1"/>
        </p:nvSpPr>
        <p:spPr>
          <a:xfrm rot="10800000">
            <a:off x="0" y="4637306"/>
            <a:ext cx="10575735" cy="4099184"/>
          </a:xfrm>
          <a:prstGeom prst="rect">
            <a:avLst/>
          </a:prstGeom>
          <a:solidFill>
            <a:srgbClr val="0D2E4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FC6F57-06BC-A24A-9CFA-807644C3F827}"/>
              </a:ext>
            </a:extLst>
          </p:cNvPr>
          <p:cNvSpPr/>
          <p:nvPr userDrawn="1"/>
        </p:nvSpPr>
        <p:spPr>
          <a:xfrm rot="16200000">
            <a:off x="8675700" y="6537352"/>
            <a:ext cx="4099185" cy="299105"/>
          </a:xfrm>
          <a:prstGeom prst="rect">
            <a:avLst/>
          </a:prstGeom>
          <a:solidFill>
            <a:srgbClr val="1645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70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2A50CFA-543C-604B-82C5-9511E15A170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26635" y="7527596"/>
            <a:ext cx="8006010" cy="1028574"/>
          </a:xfrm>
        </p:spPr>
        <p:txBody>
          <a:bodyPr wrap="square" anchor="t" anchorCtr="0">
            <a:noAutofit/>
          </a:bodyPr>
          <a:lstStyle>
            <a:lvl1pPr marL="0" indent="0" algn="l">
              <a:buNone/>
              <a:defRPr lang="da-DK" sz="3600" b="0" kern="1200" noProof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/>
              <a:t>Klik for at redigere teksttypografierne i masteren</a:t>
            </a:r>
          </a:p>
        </p:txBody>
      </p:sp>
      <p:sp>
        <p:nvSpPr>
          <p:cNvPr id="13" name="Titel 9">
            <a:extLst>
              <a:ext uri="{FF2B5EF4-FFF2-40B4-BE49-F238E27FC236}">
                <a16:creationId xmlns:a16="http://schemas.microsoft.com/office/drawing/2014/main" id="{56E7746A-164B-3A44-82C1-D2B048D046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6635" y="4817050"/>
            <a:ext cx="8006010" cy="2530806"/>
          </a:xfrm>
        </p:spPr>
        <p:txBody>
          <a:bodyPr anchor="b"/>
          <a:lstStyle>
            <a:lvl1pPr algn="l">
              <a:defRPr sz="6600">
                <a:solidFill>
                  <a:srgbClr val="FFFFFF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88219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117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6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5.xml"/><Relationship Id="rId90" Type="http://schemas.openxmlformats.org/officeDocument/2006/relationships/slideLayout" Target="../slideLayouts/slideLayout90.xml"/><Relationship Id="rId95" Type="http://schemas.openxmlformats.org/officeDocument/2006/relationships/slideLayout" Target="../slideLayouts/slideLayout95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18" Type="http://schemas.openxmlformats.org/officeDocument/2006/relationships/tags" Target="../tags/tag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08" Type="http://schemas.openxmlformats.org/officeDocument/2006/relationships/slideLayout" Target="../slideLayouts/slideLayout108.xml"/><Relationship Id="rId54" Type="http://schemas.openxmlformats.org/officeDocument/2006/relationships/slideLayout" Target="../slideLayouts/slideLayout54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91" Type="http://schemas.openxmlformats.org/officeDocument/2006/relationships/slideLayout" Target="../slideLayouts/slideLayout91.xml"/><Relationship Id="rId9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119" Type="http://schemas.openxmlformats.org/officeDocument/2006/relationships/oleObject" Target="../embeddings/oleObject1.bin"/><Relationship Id="rId44" Type="http://schemas.openxmlformats.org/officeDocument/2006/relationships/slideLayout" Target="../slideLayouts/slideLayout44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8"/>
            </p:custDataLst>
            <p:extLst>
              <p:ext uri="{D42A27DB-BD31-4B8C-83A1-F6EECF244321}">
                <p14:modId xmlns:p14="http://schemas.microsoft.com/office/powerpoint/2010/main" val="3730470364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9" imgW="353" imgH="353" progId="TCLayout.ActiveDocument.1">
                  <p:embed/>
                </p:oleObj>
              </mc:Choice>
              <mc:Fallback>
                <p:oleObj name="think-cell Slide" r:id="rId119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 txBox="1">
            <a:spLocks/>
          </p:cNvSpPr>
          <p:nvPr/>
        </p:nvSpPr>
        <p:spPr>
          <a:xfrm>
            <a:off x="4318144" y="9663011"/>
            <a:ext cx="561461" cy="492443"/>
          </a:xfrm>
          <a:prstGeom prst="rect">
            <a:avLst/>
          </a:prstGeom>
        </p:spPr>
        <p:txBody>
          <a:bodyPr vert="horz" wrap="none" lIns="182880" tIns="91440" rIns="182880" bIns="9144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US" sz="1800" b="0" i="0">
              <a:solidFill>
                <a:schemeClr val="accent1">
                  <a:alpha val="50000"/>
                </a:schemeClr>
              </a:solidFill>
              <a:latin typeface="Roboto Condensed Light" charset="0"/>
              <a:ea typeface="Roboto Condensed Light" charset="0"/>
              <a:cs typeface="Roboto Condensed Light" charset="0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1371600" y="648001"/>
            <a:ext cx="15544800" cy="122634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da-DK" noProof="0"/>
              <a:t>Klik for at redigere overskrif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605088"/>
            <a:ext cx="15544800" cy="6481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Punkt niv 1 (str. 18)</a:t>
            </a:r>
          </a:p>
          <a:p>
            <a:pPr lvl="1"/>
            <a:r>
              <a:rPr lang="da-DK" noProof="0"/>
              <a:t>Punkt niv 2</a:t>
            </a:r>
          </a:p>
          <a:p>
            <a:pPr lvl="2"/>
            <a:r>
              <a:rPr lang="da-DK" noProof="0"/>
              <a:t>Punkt niv 3</a:t>
            </a:r>
          </a:p>
          <a:p>
            <a:pPr lvl="3"/>
            <a:r>
              <a:rPr lang="da-DK" noProof="0"/>
              <a:t>Punkt niv 4</a:t>
            </a:r>
          </a:p>
          <a:p>
            <a:pPr lvl="4"/>
            <a:r>
              <a:rPr lang="da-DK" noProof="0"/>
              <a:t>Punkt niv 5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1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112344" y="9181341"/>
            <a:ext cx="810518" cy="803538"/>
          </a:xfrm>
          <a:prstGeom prst="rect">
            <a:avLst/>
          </a:prstGeom>
        </p:spPr>
      </p:pic>
      <p:sp>
        <p:nvSpPr>
          <p:cNvPr id="16" name="Rectangle 7"/>
          <p:cNvSpPr/>
          <p:nvPr/>
        </p:nvSpPr>
        <p:spPr>
          <a:xfrm>
            <a:off x="0" y="0"/>
            <a:ext cx="18288000" cy="270000"/>
          </a:xfrm>
          <a:prstGeom prst="rect">
            <a:avLst/>
          </a:prstGeom>
          <a:solidFill>
            <a:srgbClr val="16457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9" name="Pladsholder til slidenummer 3">
            <a:extLst>
              <a:ext uri="{FF2B5EF4-FFF2-40B4-BE49-F238E27FC236}">
                <a16:creationId xmlns:a16="http://schemas.microsoft.com/office/drawing/2014/main" id="{261F9F15-9FEF-B744-99C3-B8E898C689AE}"/>
              </a:ext>
            </a:extLst>
          </p:cNvPr>
          <p:cNvSpPr txBox="1">
            <a:spLocks/>
          </p:cNvSpPr>
          <p:nvPr userDrawn="1"/>
        </p:nvSpPr>
        <p:spPr>
          <a:xfrm>
            <a:off x="365139" y="9072390"/>
            <a:ext cx="1006461" cy="1027575"/>
          </a:xfrm>
          <a:prstGeom prst="rect">
            <a:avLst/>
          </a:prstGeom>
        </p:spPr>
        <p:txBody>
          <a:bodyPr vert="horz" lIns="137160" tIns="68580" rIns="137160" bIns="6858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rgbClr val="446B8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9299A6-A9F0-954F-A0FC-2793106C1BD3}" type="slidenum">
              <a:rPr lang="da-DK" sz="1500" smtClean="0"/>
              <a:pPr/>
              <a:t>‹#›</a:t>
            </a:fld>
            <a:endParaRPr lang="da-DK" sz="1500"/>
          </a:p>
        </p:txBody>
      </p:sp>
    </p:spTree>
    <p:extLst>
      <p:ext uri="{BB962C8B-B14F-4D97-AF65-F5344CB8AC3E}">
        <p14:creationId xmlns:p14="http://schemas.microsoft.com/office/powerpoint/2010/main" val="1783899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  <p:sldLayoutId id="2147483684" r:id="rId22"/>
    <p:sldLayoutId id="2147483685" r:id="rId23"/>
    <p:sldLayoutId id="2147483686" r:id="rId24"/>
    <p:sldLayoutId id="2147483687" r:id="rId25"/>
    <p:sldLayoutId id="2147483688" r:id="rId26"/>
    <p:sldLayoutId id="2147483689" r:id="rId27"/>
    <p:sldLayoutId id="2147483690" r:id="rId28"/>
    <p:sldLayoutId id="2147483691" r:id="rId29"/>
    <p:sldLayoutId id="2147483692" r:id="rId30"/>
    <p:sldLayoutId id="2147483693" r:id="rId31"/>
    <p:sldLayoutId id="2147483694" r:id="rId32"/>
    <p:sldLayoutId id="2147483695" r:id="rId33"/>
    <p:sldLayoutId id="2147483696" r:id="rId34"/>
    <p:sldLayoutId id="2147483697" r:id="rId35"/>
    <p:sldLayoutId id="2147483698" r:id="rId36"/>
    <p:sldLayoutId id="2147483699" r:id="rId37"/>
    <p:sldLayoutId id="2147483700" r:id="rId38"/>
    <p:sldLayoutId id="2147483701" r:id="rId39"/>
    <p:sldLayoutId id="2147483702" r:id="rId40"/>
    <p:sldLayoutId id="2147483703" r:id="rId41"/>
    <p:sldLayoutId id="2147483704" r:id="rId42"/>
    <p:sldLayoutId id="2147483705" r:id="rId43"/>
    <p:sldLayoutId id="2147483706" r:id="rId44"/>
    <p:sldLayoutId id="2147483707" r:id="rId45"/>
    <p:sldLayoutId id="2147483708" r:id="rId46"/>
    <p:sldLayoutId id="2147483709" r:id="rId47"/>
    <p:sldLayoutId id="2147483710" r:id="rId48"/>
    <p:sldLayoutId id="2147483711" r:id="rId49"/>
    <p:sldLayoutId id="2147483712" r:id="rId50"/>
    <p:sldLayoutId id="2147483713" r:id="rId51"/>
    <p:sldLayoutId id="2147483714" r:id="rId52"/>
    <p:sldLayoutId id="2147483715" r:id="rId53"/>
    <p:sldLayoutId id="2147483716" r:id="rId54"/>
    <p:sldLayoutId id="2147483717" r:id="rId55"/>
    <p:sldLayoutId id="2147483718" r:id="rId56"/>
    <p:sldLayoutId id="2147483719" r:id="rId57"/>
    <p:sldLayoutId id="2147483720" r:id="rId58"/>
    <p:sldLayoutId id="2147483721" r:id="rId59"/>
    <p:sldLayoutId id="2147483722" r:id="rId60"/>
    <p:sldLayoutId id="2147483723" r:id="rId61"/>
    <p:sldLayoutId id="2147483724" r:id="rId62"/>
    <p:sldLayoutId id="2147483725" r:id="rId63"/>
    <p:sldLayoutId id="2147483726" r:id="rId64"/>
    <p:sldLayoutId id="2147483727" r:id="rId65"/>
    <p:sldLayoutId id="2147483728" r:id="rId66"/>
    <p:sldLayoutId id="2147483729" r:id="rId67"/>
    <p:sldLayoutId id="2147483730" r:id="rId68"/>
    <p:sldLayoutId id="2147483731" r:id="rId69"/>
    <p:sldLayoutId id="2147483732" r:id="rId70"/>
    <p:sldLayoutId id="2147483733" r:id="rId71"/>
    <p:sldLayoutId id="2147483734" r:id="rId72"/>
    <p:sldLayoutId id="2147483735" r:id="rId73"/>
    <p:sldLayoutId id="2147483736" r:id="rId74"/>
    <p:sldLayoutId id="2147483737" r:id="rId75"/>
    <p:sldLayoutId id="2147483738" r:id="rId76"/>
    <p:sldLayoutId id="2147483739" r:id="rId77"/>
    <p:sldLayoutId id="2147483740" r:id="rId78"/>
    <p:sldLayoutId id="2147483741" r:id="rId79"/>
    <p:sldLayoutId id="2147483742" r:id="rId80"/>
    <p:sldLayoutId id="2147483743" r:id="rId81"/>
    <p:sldLayoutId id="2147483744" r:id="rId82"/>
    <p:sldLayoutId id="2147483745" r:id="rId83"/>
    <p:sldLayoutId id="2147483746" r:id="rId84"/>
    <p:sldLayoutId id="2147483747" r:id="rId85"/>
    <p:sldLayoutId id="2147483748" r:id="rId86"/>
    <p:sldLayoutId id="2147483749" r:id="rId87"/>
    <p:sldLayoutId id="2147483750" r:id="rId88"/>
    <p:sldLayoutId id="2147483751" r:id="rId89"/>
    <p:sldLayoutId id="2147483752" r:id="rId90"/>
    <p:sldLayoutId id="2147483753" r:id="rId91"/>
    <p:sldLayoutId id="2147483754" r:id="rId92"/>
    <p:sldLayoutId id="2147483755" r:id="rId93"/>
    <p:sldLayoutId id="2147483756" r:id="rId94"/>
    <p:sldLayoutId id="2147483757" r:id="rId95"/>
    <p:sldLayoutId id="2147483758" r:id="rId96"/>
    <p:sldLayoutId id="2147483759" r:id="rId97"/>
    <p:sldLayoutId id="2147483760" r:id="rId98"/>
    <p:sldLayoutId id="2147483761" r:id="rId99"/>
    <p:sldLayoutId id="2147483762" r:id="rId100"/>
    <p:sldLayoutId id="2147483763" r:id="rId101"/>
    <p:sldLayoutId id="2147483764" r:id="rId102"/>
    <p:sldLayoutId id="2147483765" r:id="rId103"/>
    <p:sldLayoutId id="2147483766" r:id="rId104"/>
    <p:sldLayoutId id="2147483767" r:id="rId105"/>
    <p:sldLayoutId id="2147483768" r:id="rId106"/>
    <p:sldLayoutId id="2147483769" r:id="rId107"/>
    <p:sldLayoutId id="2147483770" r:id="rId108"/>
    <p:sldLayoutId id="2147483771" r:id="rId109"/>
    <p:sldLayoutId id="2147483772" r:id="rId110"/>
    <p:sldLayoutId id="2147483773" r:id="rId111"/>
    <p:sldLayoutId id="2147483774" r:id="rId112"/>
    <p:sldLayoutId id="2147483775" r:id="rId113"/>
    <p:sldLayoutId id="2147483776" r:id="rId114"/>
    <p:sldLayoutId id="2147483777" r:id="rId115"/>
    <p:sldLayoutId id="2147483778" r:id="rId116"/>
  </p:sldLayoutIdLst>
  <p:hf hdr="0"/>
  <p:txStyles>
    <p:titleStyle>
      <a:lvl1pPr algn="ctr" defTabSz="1371566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chemeClr val="tx2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514350" indent="-514350" algn="l" defTabSz="1371566" rtl="0" eaLnBrk="1" latinLnBrk="0" hangingPunct="1">
        <a:lnSpc>
          <a:spcPct val="90000"/>
        </a:lnSpc>
        <a:spcBef>
          <a:spcPts val="1500"/>
        </a:spcBef>
        <a:buFont typeface="Arial" panose="020B0604020202020204" pitchFamily="34" charset="0"/>
        <a:buChar char="•"/>
        <a:defRPr sz="270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1pPr>
      <a:lvl2pPr marL="1028675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b="0" kern="1200" baseline="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2pPr>
      <a:lvl3pPr marL="1714457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3pPr>
      <a:lvl4pPr marL="2400240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4pPr>
      <a:lvl5pPr marL="3086024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2"/>
          </a:solidFill>
          <a:latin typeface="+mn-lt"/>
          <a:ea typeface="Open Sans Light" panose="020B0306030504020204" pitchFamily="34" charset="0"/>
          <a:cs typeface="Open Sans Light" panose="020B0306030504020204" pitchFamily="34" charset="0"/>
        </a:defRPr>
      </a:lvl5pPr>
      <a:lvl6pPr marL="3771806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457589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5143371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829155" indent="-342891" algn="l" defTabSz="1371566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4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566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2057349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5pPr>
      <a:lvl6pPr marL="3428915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4114697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480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486264" algn="l" defTabSz="1371566" rtl="0" eaLnBrk="1" latinLnBrk="0" hangingPunct="1"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pos="574">
          <p15:clr>
            <a:srgbClr val="F26B43"/>
          </p15:clr>
        </p15:guide>
        <p15:guide id="4" pos="7106">
          <p15:clr>
            <a:srgbClr val="F26B43"/>
          </p15:clr>
        </p15:guide>
        <p15:guide id="5" orient="horz" pos="3816">
          <p15:clr>
            <a:srgbClr val="F26B43"/>
          </p15:clr>
        </p15:guide>
        <p15:guide id="7" orient="horz" pos="10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image" Target="../media/image39.png"/><Relationship Id="rId11" Type="http://schemas.openxmlformats.org/officeDocument/2006/relationships/image" Target="../media/image48.png"/><Relationship Id="rId5" Type="http://schemas.openxmlformats.org/officeDocument/2006/relationships/image" Target="../media/image38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5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6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6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image" Target="../media/image39.png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image" Target="../media/image38.emf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notesSlide" Target="../notesSlides/notesSlide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slideLayout" Target="../slideLayouts/slideLayout4.xml"/><Relationship Id="rId27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6" Type="http://schemas.openxmlformats.org/officeDocument/2006/relationships/image" Target="../media/image3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00694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D44574-B750-4578-B3B0-F986B50CF915}"/>
              </a:ext>
            </a:extLst>
          </p:cNvPr>
          <p:cNvSpPr/>
          <p:nvPr/>
        </p:nvSpPr>
        <p:spPr>
          <a:xfrm>
            <a:off x="228600" y="1045898"/>
            <a:ext cx="17606962" cy="8745803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a-DK" sz="27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8" name="Pil: pentagon 417">
            <a:extLst>
              <a:ext uri="{FF2B5EF4-FFF2-40B4-BE49-F238E27FC236}">
                <a16:creationId xmlns:a16="http://schemas.microsoft.com/office/drawing/2014/main" id="{7DF3A95A-B14E-4818-B574-68DFFFB1ABDF}"/>
              </a:ext>
            </a:extLst>
          </p:cNvPr>
          <p:cNvSpPr/>
          <p:nvPr/>
        </p:nvSpPr>
        <p:spPr>
          <a:xfrm>
            <a:off x="193474" y="3315592"/>
            <a:ext cx="5140526" cy="985134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Alfa”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7370AB63-7574-8B05-D114-980C0B12D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822245"/>
            <a:ext cx="1149034" cy="350455"/>
          </a:xfrm>
          <a:prstGeom prst="rect">
            <a:avLst/>
          </a:prstGeom>
        </p:spPr>
      </p:pic>
      <p:sp>
        <p:nvSpPr>
          <p:cNvPr id="24" name="Titel 2">
            <a:extLst>
              <a:ext uri="{FF2B5EF4-FFF2-40B4-BE49-F238E27FC236}">
                <a16:creationId xmlns:a16="http://schemas.microsoft.com/office/drawing/2014/main" id="{6470C555-6C03-0812-275B-64F1D124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 Marketingpakker til mægler </a:t>
            </a:r>
            <a:endParaRPr lang="da-DK" sz="8100" dirty="0"/>
          </a:p>
        </p:txBody>
      </p:sp>
      <p:sp>
        <p:nvSpPr>
          <p:cNvPr id="3" name="Pil: pentagon 417">
            <a:extLst>
              <a:ext uri="{FF2B5EF4-FFF2-40B4-BE49-F238E27FC236}">
                <a16:creationId xmlns:a16="http://schemas.microsoft.com/office/drawing/2014/main" id="{32A43A62-97A0-6E49-672D-E6C72F45FFC4}"/>
              </a:ext>
            </a:extLst>
          </p:cNvPr>
          <p:cNvSpPr/>
          <p:nvPr/>
        </p:nvSpPr>
        <p:spPr>
          <a:xfrm>
            <a:off x="5943600" y="3308700"/>
            <a:ext cx="5365640" cy="992026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Beta” 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+ DBA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feed fra Boliga til DBA, kører automatisk)</a:t>
            </a:r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A3CE4006-8661-C4B9-136A-FF0D623D887D}"/>
              </a:ext>
            </a:extLst>
          </p:cNvPr>
          <p:cNvSpPr/>
          <p:nvPr/>
        </p:nvSpPr>
        <p:spPr>
          <a:xfrm>
            <a:off x="11945912" y="3348049"/>
            <a:ext cx="5571344" cy="958143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Gamma”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b="1" dirty="0">
                <a:solidFill>
                  <a:srgbClr val="FFFFFF"/>
                </a:solidFill>
                <a:latin typeface="Arial"/>
              </a:rPr>
              <a:t>SoMe + DBA + Boliga 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taktiske placeringer Boliga univers)</a:t>
            </a:r>
          </a:p>
        </p:txBody>
      </p:sp>
      <p:sp>
        <p:nvSpPr>
          <p:cNvPr id="18" name="Heptagon 17">
            <a:extLst>
              <a:ext uri="{FF2B5EF4-FFF2-40B4-BE49-F238E27FC236}">
                <a16:creationId xmlns:a16="http://schemas.microsoft.com/office/drawing/2014/main" id="{1EBC15E9-CB48-D257-CC89-5BB6EEEBAECB}"/>
              </a:ext>
            </a:extLst>
          </p:cNvPr>
          <p:cNvSpPr/>
          <p:nvPr/>
        </p:nvSpPr>
        <p:spPr>
          <a:xfrm rot="573780">
            <a:off x="13468396" y="2704542"/>
            <a:ext cx="1109392" cy="726168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Boliga</a:t>
            </a:r>
          </a:p>
        </p:txBody>
      </p:sp>
      <p:sp>
        <p:nvSpPr>
          <p:cNvPr id="19" name="Heptagon 18">
            <a:extLst>
              <a:ext uri="{FF2B5EF4-FFF2-40B4-BE49-F238E27FC236}">
                <a16:creationId xmlns:a16="http://schemas.microsoft.com/office/drawing/2014/main" id="{5C0A05AB-728E-102F-AD72-A719D43B4BBB}"/>
              </a:ext>
            </a:extLst>
          </p:cNvPr>
          <p:cNvSpPr/>
          <p:nvPr/>
        </p:nvSpPr>
        <p:spPr>
          <a:xfrm rot="573780">
            <a:off x="52612" y="264238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sp>
        <p:nvSpPr>
          <p:cNvPr id="2" name="Heptagon 1">
            <a:extLst>
              <a:ext uri="{FF2B5EF4-FFF2-40B4-BE49-F238E27FC236}">
                <a16:creationId xmlns:a16="http://schemas.microsoft.com/office/drawing/2014/main" id="{554E29B2-C2D9-A494-4BB1-A52B8041C9BA}"/>
              </a:ext>
            </a:extLst>
          </p:cNvPr>
          <p:cNvSpPr/>
          <p:nvPr/>
        </p:nvSpPr>
        <p:spPr>
          <a:xfrm rot="573780">
            <a:off x="5691412" y="262834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sp>
        <p:nvSpPr>
          <p:cNvPr id="14" name="Heptagon 13">
            <a:extLst>
              <a:ext uri="{FF2B5EF4-FFF2-40B4-BE49-F238E27FC236}">
                <a16:creationId xmlns:a16="http://schemas.microsoft.com/office/drawing/2014/main" id="{A9120924-4F1E-8D75-B9BD-1251DFD82AA2}"/>
              </a:ext>
            </a:extLst>
          </p:cNvPr>
          <p:cNvSpPr/>
          <p:nvPr/>
        </p:nvSpPr>
        <p:spPr>
          <a:xfrm rot="573780">
            <a:off x="12630196" y="2724024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sp>
        <p:nvSpPr>
          <p:cNvPr id="16" name="Heptagon 15">
            <a:extLst>
              <a:ext uri="{FF2B5EF4-FFF2-40B4-BE49-F238E27FC236}">
                <a16:creationId xmlns:a16="http://schemas.microsoft.com/office/drawing/2014/main" id="{18DDA87A-6284-EB12-E53E-997CD76054EE}"/>
              </a:ext>
            </a:extLst>
          </p:cNvPr>
          <p:cNvSpPr/>
          <p:nvPr/>
        </p:nvSpPr>
        <p:spPr>
          <a:xfrm rot="573780">
            <a:off x="11715796" y="270454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graphicFrame>
        <p:nvGraphicFramePr>
          <p:cNvPr id="25" name="Table 25">
            <a:extLst>
              <a:ext uri="{FF2B5EF4-FFF2-40B4-BE49-F238E27FC236}">
                <a16:creationId xmlns:a16="http://schemas.microsoft.com/office/drawing/2014/main" id="{BCDAA00A-9965-E6D1-0216-D09A9EFDAB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6702959"/>
              </p:ext>
            </p:extLst>
          </p:nvPr>
        </p:nvGraphicFramePr>
        <p:xfrm>
          <a:off x="228600" y="4320540"/>
          <a:ext cx="502045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0400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1820056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Me annoncering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5.9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6267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9047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8852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144784"/>
                  </a:ext>
                </a:extLst>
              </a:tr>
            </a:tbl>
          </a:graphicData>
        </a:graphic>
      </p:graphicFrame>
      <p:sp>
        <p:nvSpPr>
          <p:cNvPr id="23" name="Heptagon 22">
            <a:extLst>
              <a:ext uri="{FF2B5EF4-FFF2-40B4-BE49-F238E27FC236}">
                <a16:creationId xmlns:a16="http://schemas.microsoft.com/office/drawing/2014/main" id="{6D2F8094-2794-0D9A-CFD0-0095BB2E587C}"/>
              </a:ext>
            </a:extLst>
          </p:cNvPr>
          <p:cNvSpPr/>
          <p:nvPr/>
        </p:nvSpPr>
        <p:spPr>
          <a:xfrm rot="573780">
            <a:off x="6601229" y="2647824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6FE5903F-C3E7-9BA8-B0A8-CFB6AAB7E5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9556628"/>
              </p:ext>
            </p:extLst>
          </p:nvPr>
        </p:nvGraphicFramePr>
        <p:xfrm>
          <a:off x="5975240" y="4342387"/>
          <a:ext cx="5240312" cy="3301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7360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1842952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+ DBA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SoMe katalog inkl. oprettel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1371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  <a:p>
                      <a:pPr algn="l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A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10 kr. pr. klik v/ 300 klik md. x 5 (fortjeneste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9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Oprettelse DB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3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7.3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4759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9664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6708650"/>
                  </a:ext>
                </a:extLst>
              </a:tr>
            </a:tbl>
          </a:graphicData>
        </a:graphic>
      </p:graphicFrame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B86DBB68-42FF-8E4C-D035-0F3B1B59E9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5659268"/>
              </p:ext>
            </p:extLst>
          </p:nvPr>
        </p:nvGraphicFramePr>
        <p:xfrm>
          <a:off x="11945912" y="4342387"/>
          <a:ext cx="5571344" cy="33013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2688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2048656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+ DBA + Boliga 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SoMe katalog inkl. oprettel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1371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A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10 kr. pr. klik v/ 300 klik md. x 5 (fortjeneste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9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Oprettelse DB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3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liger på Boliga.dk (Boliga univers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4.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4759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3715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Boliga.dk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4534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11.7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7721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80842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00100"/>
            <a:ext cx="12088945" cy="8210550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Case: DBA volumen og performance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DBA i Boliga annonceprodukter 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cxnSp>
        <p:nvCxnSpPr>
          <p:cNvPr id="31" name="Straight Connector 42">
            <a:extLst>
              <a:ext uri="{FF2B5EF4-FFF2-40B4-BE49-F238E27FC236}">
                <a16:creationId xmlns:a16="http://schemas.microsoft.com/office/drawing/2014/main" id="{3760752E-E40A-61AC-3B5B-782B4336590B}"/>
              </a:ext>
            </a:extLst>
          </p:cNvPr>
          <p:cNvCxnSpPr>
            <a:cxnSpLocks/>
          </p:cNvCxnSpPr>
          <p:nvPr/>
        </p:nvCxnSpPr>
        <p:spPr>
          <a:xfrm>
            <a:off x="13668375" y="156210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kstfelt 26">
            <a:extLst>
              <a:ext uri="{FF2B5EF4-FFF2-40B4-BE49-F238E27FC236}">
                <a16:creationId xmlns:a16="http://schemas.microsoft.com/office/drawing/2014/main" id="{60216DC4-8950-91D2-D229-BF35D8CBE3FB}"/>
              </a:ext>
            </a:extLst>
          </p:cNvPr>
          <p:cNvSpPr txBox="1"/>
          <p:nvPr/>
        </p:nvSpPr>
        <p:spPr>
          <a:xfrm>
            <a:off x="13668376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rPr>
              <a:t>Indsigt</a:t>
            </a:r>
          </a:p>
        </p:txBody>
      </p:sp>
      <p:sp>
        <p:nvSpPr>
          <p:cNvPr id="34" name="Rektangel 7">
            <a:extLst>
              <a:ext uri="{FF2B5EF4-FFF2-40B4-BE49-F238E27FC236}">
                <a16:creationId xmlns:a16="http://schemas.microsoft.com/office/drawing/2014/main" id="{1EE8A156-AD82-2681-861F-9C8F1E18C1A4}"/>
              </a:ext>
            </a:extLst>
          </p:cNvPr>
          <p:cNvSpPr/>
          <p:nvPr/>
        </p:nvSpPr>
        <p:spPr>
          <a:xfrm>
            <a:off x="13639800" y="1790699"/>
            <a:ext cx="3886200" cy="7214235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A862291-9671-FE6A-A032-06B15380CE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58912" y="2038266"/>
            <a:ext cx="9647288" cy="6706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856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783120"/>
            <a:ext cx="15463338" cy="9067791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390152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Opdateringer  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 på DBA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pic>
        <p:nvPicPr>
          <p:cNvPr id="37" name="Picture 3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1A0796B-070A-DECD-0E02-8B4A897B66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200" y="1995855"/>
            <a:ext cx="5791200" cy="3321161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6E2A0B3-6EBB-DA33-DB41-1B81DCEA0A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200" y="5829300"/>
            <a:ext cx="5784436" cy="3790341"/>
          </a:xfrm>
          <a:prstGeom prst="rect">
            <a:avLst/>
          </a:prstGeom>
        </p:spPr>
      </p:pic>
      <p:sp>
        <p:nvSpPr>
          <p:cNvPr id="39" name="Heptagon 38">
            <a:extLst>
              <a:ext uri="{FF2B5EF4-FFF2-40B4-BE49-F238E27FC236}">
                <a16:creationId xmlns:a16="http://schemas.microsoft.com/office/drawing/2014/main" id="{200BCE2D-3396-38A1-53F7-B44ADB1F93FF}"/>
              </a:ext>
            </a:extLst>
          </p:cNvPr>
          <p:cNvSpPr/>
          <p:nvPr/>
        </p:nvSpPr>
        <p:spPr>
          <a:xfrm rot="573780">
            <a:off x="1488195" y="2056861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Heptagon 39">
            <a:extLst>
              <a:ext uri="{FF2B5EF4-FFF2-40B4-BE49-F238E27FC236}">
                <a16:creationId xmlns:a16="http://schemas.microsoft.com/office/drawing/2014/main" id="{E94BC13F-A599-7DEA-69CE-8CC1E4312328}"/>
              </a:ext>
            </a:extLst>
          </p:cNvPr>
          <p:cNvSpPr/>
          <p:nvPr/>
        </p:nvSpPr>
        <p:spPr>
          <a:xfrm rot="573780">
            <a:off x="4292624" y="2360704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Heptagon 40">
            <a:extLst>
              <a:ext uri="{FF2B5EF4-FFF2-40B4-BE49-F238E27FC236}">
                <a16:creationId xmlns:a16="http://schemas.microsoft.com/office/drawing/2014/main" id="{22DF866D-61C0-F097-261A-18E79C37D342}"/>
              </a:ext>
            </a:extLst>
          </p:cNvPr>
          <p:cNvSpPr/>
          <p:nvPr/>
        </p:nvSpPr>
        <p:spPr>
          <a:xfrm rot="573780">
            <a:off x="7103819" y="2152588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2" name="Heptagon 41">
            <a:extLst>
              <a:ext uri="{FF2B5EF4-FFF2-40B4-BE49-F238E27FC236}">
                <a16:creationId xmlns:a16="http://schemas.microsoft.com/office/drawing/2014/main" id="{4A341CF2-2E6D-5CE5-A532-A4096C013786}"/>
              </a:ext>
            </a:extLst>
          </p:cNvPr>
          <p:cNvSpPr/>
          <p:nvPr/>
        </p:nvSpPr>
        <p:spPr>
          <a:xfrm rot="573780">
            <a:off x="2313242" y="7990636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5" name="Picture 44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30280A69-6FD8-3697-0319-FC5D35AE5BB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9775" y="2026919"/>
            <a:ext cx="5784436" cy="4159594"/>
          </a:xfrm>
          <a:prstGeom prst="rect">
            <a:avLst/>
          </a:prstGeom>
        </p:spPr>
      </p:pic>
      <p:sp>
        <p:nvSpPr>
          <p:cNvPr id="46" name="Heptagon 45">
            <a:extLst>
              <a:ext uri="{FF2B5EF4-FFF2-40B4-BE49-F238E27FC236}">
                <a16:creationId xmlns:a16="http://schemas.microsoft.com/office/drawing/2014/main" id="{2BB30F50-54F4-B2E3-9DCC-DE8FAAC4ADA8}"/>
              </a:ext>
            </a:extLst>
          </p:cNvPr>
          <p:cNvSpPr/>
          <p:nvPr/>
        </p:nvSpPr>
        <p:spPr>
          <a:xfrm rot="573780">
            <a:off x="11642097" y="2056861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Heptagon 46">
            <a:extLst>
              <a:ext uri="{FF2B5EF4-FFF2-40B4-BE49-F238E27FC236}">
                <a16:creationId xmlns:a16="http://schemas.microsoft.com/office/drawing/2014/main" id="{BC71833F-C1BA-24AE-FEBC-A3FF36C3DB05}"/>
              </a:ext>
            </a:extLst>
          </p:cNvPr>
          <p:cNvSpPr/>
          <p:nvPr/>
        </p:nvSpPr>
        <p:spPr>
          <a:xfrm rot="573780">
            <a:off x="9021971" y="3345120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Heptagon 47">
            <a:extLst>
              <a:ext uri="{FF2B5EF4-FFF2-40B4-BE49-F238E27FC236}">
                <a16:creationId xmlns:a16="http://schemas.microsoft.com/office/drawing/2014/main" id="{37976514-25BC-533C-8958-D9B677EB0564}"/>
              </a:ext>
            </a:extLst>
          </p:cNvPr>
          <p:cNvSpPr/>
          <p:nvPr/>
        </p:nvSpPr>
        <p:spPr>
          <a:xfrm rot="573780">
            <a:off x="10926971" y="3875836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Heptagon 48">
            <a:extLst>
              <a:ext uri="{FF2B5EF4-FFF2-40B4-BE49-F238E27FC236}">
                <a16:creationId xmlns:a16="http://schemas.microsoft.com/office/drawing/2014/main" id="{C5345C39-4C00-A673-2ED2-0BF2E8EF8CD6}"/>
              </a:ext>
            </a:extLst>
          </p:cNvPr>
          <p:cNvSpPr/>
          <p:nvPr/>
        </p:nvSpPr>
        <p:spPr>
          <a:xfrm rot="573780">
            <a:off x="10241171" y="4564320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1" name="Picture 50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0DC58F8A-AD15-3FD5-1D7B-AEF06DD864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96434" y="4139777"/>
            <a:ext cx="2047829" cy="1248129"/>
          </a:xfrm>
          <a:prstGeom prst="rect">
            <a:avLst/>
          </a:prstGeom>
        </p:spPr>
      </p:pic>
      <p:sp>
        <p:nvSpPr>
          <p:cNvPr id="52" name="Heptagon 51">
            <a:extLst>
              <a:ext uri="{FF2B5EF4-FFF2-40B4-BE49-F238E27FC236}">
                <a16:creationId xmlns:a16="http://schemas.microsoft.com/office/drawing/2014/main" id="{9AD2B38C-0723-3043-372C-BCF8FD8E6DFD}"/>
              </a:ext>
            </a:extLst>
          </p:cNvPr>
          <p:cNvSpPr/>
          <p:nvPr/>
        </p:nvSpPr>
        <p:spPr>
          <a:xfrm rot="573780">
            <a:off x="14736971" y="3875836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Picture 12" descr="Icon&#10;&#10;Description automatically generated">
            <a:extLst>
              <a:ext uri="{FF2B5EF4-FFF2-40B4-BE49-F238E27FC236}">
                <a16:creationId xmlns:a16="http://schemas.microsoft.com/office/drawing/2014/main" id="{33234E7C-1D94-15BD-6849-276DAC956DA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36107" y="7496429"/>
            <a:ext cx="1846365" cy="1384774"/>
          </a:xfrm>
          <a:prstGeom prst="rect">
            <a:avLst/>
          </a:prstGeom>
        </p:spPr>
      </p:pic>
      <p:pic>
        <p:nvPicPr>
          <p:cNvPr id="16" name="Picture 1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2A448C1A-CB33-DDE9-5FCA-541ADAA5636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0" y="6374465"/>
            <a:ext cx="5221867" cy="3260648"/>
          </a:xfrm>
          <a:prstGeom prst="rect">
            <a:avLst/>
          </a:prstGeom>
        </p:spPr>
      </p:pic>
      <p:sp>
        <p:nvSpPr>
          <p:cNvPr id="17" name="Heptagon 16">
            <a:extLst>
              <a:ext uri="{FF2B5EF4-FFF2-40B4-BE49-F238E27FC236}">
                <a16:creationId xmlns:a16="http://schemas.microsoft.com/office/drawing/2014/main" id="{39FF38B8-4BC0-B2CE-3FA8-442026654F80}"/>
              </a:ext>
            </a:extLst>
          </p:cNvPr>
          <p:cNvSpPr/>
          <p:nvPr/>
        </p:nvSpPr>
        <p:spPr>
          <a:xfrm rot="573780">
            <a:off x="11685842" y="8371636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342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76309"/>
            <a:ext cx="12088945" cy="9220191"/>
            <a:chOff x="911225" y="584200"/>
            <a:chExt cx="3699948" cy="519567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970387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814182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390152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Opdateringer  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 på DBA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C3CEAC0-7A5A-8369-3DAC-520AD60B37F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838" y="1562100"/>
            <a:ext cx="8310562" cy="4140976"/>
          </a:xfrm>
          <a:prstGeom prst="rect">
            <a:avLst/>
          </a:prstGeom>
        </p:spPr>
      </p:pic>
      <p:sp>
        <p:nvSpPr>
          <p:cNvPr id="40" name="Heptagon 39">
            <a:extLst>
              <a:ext uri="{FF2B5EF4-FFF2-40B4-BE49-F238E27FC236}">
                <a16:creationId xmlns:a16="http://schemas.microsoft.com/office/drawing/2014/main" id="{E94BC13F-A599-7DEA-69CE-8CC1E4312328}"/>
              </a:ext>
            </a:extLst>
          </p:cNvPr>
          <p:cNvSpPr/>
          <p:nvPr/>
        </p:nvSpPr>
        <p:spPr>
          <a:xfrm rot="573780">
            <a:off x="3459371" y="2506920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Heptagon 12">
            <a:extLst>
              <a:ext uri="{FF2B5EF4-FFF2-40B4-BE49-F238E27FC236}">
                <a16:creationId xmlns:a16="http://schemas.microsoft.com/office/drawing/2014/main" id="{F941B313-7EA1-5DC1-0511-DCA29397F552}"/>
              </a:ext>
            </a:extLst>
          </p:cNvPr>
          <p:cNvSpPr/>
          <p:nvPr/>
        </p:nvSpPr>
        <p:spPr>
          <a:xfrm rot="573780">
            <a:off x="7116971" y="1668720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Heptagon 13">
            <a:extLst>
              <a:ext uri="{FF2B5EF4-FFF2-40B4-BE49-F238E27FC236}">
                <a16:creationId xmlns:a16="http://schemas.microsoft.com/office/drawing/2014/main" id="{22DB266C-F3FD-10B4-723D-BFCFD04C148C}"/>
              </a:ext>
            </a:extLst>
          </p:cNvPr>
          <p:cNvSpPr/>
          <p:nvPr/>
        </p:nvSpPr>
        <p:spPr>
          <a:xfrm rot="573780">
            <a:off x="8412371" y="3268920"/>
            <a:ext cx="399587" cy="399044"/>
          </a:xfrm>
          <a:prstGeom prst="heptagon">
            <a:avLst/>
          </a:prstGeom>
          <a:solidFill>
            <a:srgbClr val="FF0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BD9A7A4-4818-94B8-1586-8D717E06134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5853329"/>
            <a:ext cx="8153400" cy="4166972"/>
          </a:xfrm>
          <a:prstGeom prst="rect">
            <a:avLst/>
          </a:prstGeom>
        </p:spPr>
      </p:pic>
      <p:sp>
        <p:nvSpPr>
          <p:cNvPr id="18" name="Heptagon 17">
            <a:extLst>
              <a:ext uri="{FF2B5EF4-FFF2-40B4-BE49-F238E27FC236}">
                <a16:creationId xmlns:a16="http://schemas.microsoft.com/office/drawing/2014/main" id="{592A6A22-36A9-530A-592C-F97BE7685A8C}"/>
              </a:ext>
            </a:extLst>
          </p:cNvPr>
          <p:cNvSpPr/>
          <p:nvPr/>
        </p:nvSpPr>
        <p:spPr>
          <a:xfrm rot="573780">
            <a:off x="9479171" y="6542836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Heptagon 18">
            <a:extLst>
              <a:ext uri="{FF2B5EF4-FFF2-40B4-BE49-F238E27FC236}">
                <a16:creationId xmlns:a16="http://schemas.microsoft.com/office/drawing/2014/main" id="{592F7085-6EE4-9640-023F-1D027B42193D}"/>
              </a:ext>
            </a:extLst>
          </p:cNvPr>
          <p:cNvSpPr/>
          <p:nvPr/>
        </p:nvSpPr>
        <p:spPr>
          <a:xfrm rot="573780">
            <a:off x="6964571" y="7231320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Heptagon 19">
            <a:extLst>
              <a:ext uri="{FF2B5EF4-FFF2-40B4-BE49-F238E27FC236}">
                <a16:creationId xmlns:a16="http://schemas.microsoft.com/office/drawing/2014/main" id="{1381A590-A2EA-A3B8-AD74-C845F75F34BE}"/>
              </a:ext>
            </a:extLst>
          </p:cNvPr>
          <p:cNvSpPr/>
          <p:nvPr/>
        </p:nvSpPr>
        <p:spPr>
          <a:xfrm rot="573780">
            <a:off x="3383171" y="6545520"/>
            <a:ext cx="399587" cy="399044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65214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1680103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76309"/>
            <a:ext cx="12088945" cy="9220191"/>
            <a:chOff x="911225" y="584200"/>
            <a:chExt cx="3699948" cy="519567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970387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814182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364215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Forslag forsiden    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nnoncer på boliga.dk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pic>
        <p:nvPicPr>
          <p:cNvPr id="22" name="Picture 21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EAD89A9-7314-C751-C0C5-49E0296FFB1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0" y="1776739"/>
            <a:ext cx="9448800" cy="6817672"/>
          </a:xfrm>
          <a:prstGeom prst="rect">
            <a:avLst/>
          </a:prstGeom>
        </p:spPr>
      </p:pic>
      <p:pic>
        <p:nvPicPr>
          <p:cNvPr id="26" name="Picture 25" descr="Graphical user interface, application, website&#10;&#10;Description automatically generated">
            <a:extLst>
              <a:ext uri="{FF2B5EF4-FFF2-40B4-BE49-F238E27FC236}">
                <a16:creationId xmlns:a16="http://schemas.microsoft.com/office/drawing/2014/main" id="{585F41CE-AD7A-F00D-C168-FEF0648E7DE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0" y="7037511"/>
            <a:ext cx="7772400" cy="30589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19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76309"/>
            <a:ext cx="12088945" cy="9220191"/>
            <a:chOff x="911225" y="584200"/>
            <a:chExt cx="3699948" cy="5195679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970387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814182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364215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Forslag forsiden    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nnoncer på boliga.dk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pic>
        <p:nvPicPr>
          <p:cNvPr id="3" name="Picture 2" descr="A picture containing text, outdoor, shore&#10;&#10;Description automatically generated">
            <a:extLst>
              <a:ext uri="{FF2B5EF4-FFF2-40B4-BE49-F238E27FC236}">
                <a16:creationId xmlns:a16="http://schemas.microsoft.com/office/drawing/2014/main" id="{4AEBAB04-6D05-6CC6-DC98-07ED49B4DE4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6400" y="2104640"/>
            <a:ext cx="11268496" cy="3343660"/>
          </a:xfrm>
          <a:prstGeom prst="rect">
            <a:avLst/>
          </a:prstGeom>
        </p:spPr>
      </p:pic>
      <p:pic>
        <p:nvPicPr>
          <p:cNvPr id="11" name="Picture 10" descr="Website&#10;&#10;Description automatically generated">
            <a:extLst>
              <a:ext uri="{FF2B5EF4-FFF2-40B4-BE49-F238E27FC236}">
                <a16:creationId xmlns:a16="http://schemas.microsoft.com/office/drawing/2014/main" id="{D2FBEA3E-7640-B433-6365-9322E1F358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7197" y="2482065"/>
            <a:ext cx="2816803" cy="296623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03A25F2-2FA4-76A5-7A8C-3CD1107ED5F7}"/>
              </a:ext>
            </a:extLst>
          </p:cNvPr>
          <p:cNvSpPr/>
          <p:nvPr/>
        </p:nvSpPr>
        <p:spPr>
          <a:xfrm>
            <a:off x="10137196" y="2482065"/>
            <a:ext cx="2740603" cy="457200"/>
          </a:xfrm>
          <a:prstGeom prst="rect">
            <a:avLst/>
          </a:prstGeom>
          <a:solidFill>
            <a:srgbClr val="FFC000"/>
          </a:solidFill>
          <a:ln w="15875">
            <a:solidFill>
              <a:schemeClr val="tx1"/>
            </a:solidFill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>
                <a:solidFill>
                  <a:schemeClr val="tx1"/>
                </a:solidFill>
              </a:rPr>
              <a:t>Fremhævet bolig </a:t>
            </a:r>
          </a:p>
        </p:txBody>
      </p:sp>
    </p:spTree>
    <p:extLst>
      <p:ext uri="{BB962C8B-B14F-4D97-AF65-F5344CB8AC3E}">
        <p14:creationId xmlns:p14="http://schemas.microsoft.com/office/powerpoint/2010/main" val="318825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>
            <a:extLst>
              <a:ext uri="{FF2B5EF4-FFF2-40B4-BE49-F238E27FC236}">
                <a16:creationId xmlns:a16="http://schemas.microsoft.com/office/drawing/2014/main" id="{ECD44574-B750-4578-B3B0-F986B50CF915}"/>
              </a:ext>
            </a:extLst>
          </p:cNvPr>
          <p:cNvSpPr/>
          <p:nvPr/>
        </p:nvSpPr>
        <p:spPr>
          <a:xfrm>
            <a:off x="228600" y="1045898"/>
            <a:ext cx="17606962" cy="8745803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1600">
              <a:defRPr/>
            </a:pPr>
            <a:endParaRPr lang="da-DK" sz="27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18" name="Pil: pentagon 417">
            <a:extLst>
              <a:ext uri="{FF2B5EF4-FFF2-40B4-BE49-F238E27FC236}">
                <a16:creationId xmlns:a16="http://schemas.microsoft.com/office/drawing/2014/main" id="{7DF3A95A-B14E-4818-B574-68DFFFB1ABDF}"/>
              </a:ext>
            </a:extLst>
          </p:cNvPr>
          <p:cNvSpPr/>
          <p:nvPr/>
        </p:nvSpPr>
        <p:spPr>
          <a:xfrm>
            <a:off x="193474" y="1645192"/>
            <a:ext cx="5140526" cy="985134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Alfa”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7370AB63-7574-8B05-D114-980C0B12D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822245"/>
            <a:ext cx="1149034" cy="350455"/>
          </a:xfrm>
          <a:prstGeom prst="rect">
            <a:avLst/>
          </a:prstGeom>
        </p:spPr>
      </p:pic>
      <p:sp>
        <p:nvSpPr>
          <p:cNvPr id="24" name="Titel 2">
            <a:extLst>
              <a:ext uri="{FF2B5EF4-FFF2-40B4-BE49-F238E27FC236}">
                <a16:creationId xmlns:a16="http://schemas.microsoft.com/office/drawing/2014/main" id="{6470C555-6C03-0812-275B-64F1D124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Boliga Marketingpakker til mægler </a:t>
            </a:r>
            <a:endParaRPr lang="da-DK" sz="8100" dirty="0"/>
          </a:p>
        </p:txBody>
      </p:sp>
      <p:sp>
        <p:nvSpPr>
          <p:cNvPr id="3" name="Pil: pentagon 417">
            <a:extLst>
              <a:ext uri="{FF2B5EF4-FFF2-40B4-BE49-F238E27FC236}">
                <a16:creationId xmlns:a16="http://schemas.microsoft.com/office/drawing/2014/main" id="{32A43A62-97A0-6E49-672D-E6C72F45FFC4}"/>
              </a:ext>
            </a:extLst>
          </p:cNvPr>
          <p:cNvSpPr/>
          <p:nvPr/>
        </p:nvSpPr>
        <p:spPr>
          <a:xfrm>
            <a:off x="5943600" y="1638300"/>
            <a:ext cx="5365640" cy="992026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Beta” 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+ DBA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feed fra Boliga til DBA, kører automatisk)</a:t>
            </a:r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A3CE4006-8661-C4B9-136A-FF0D623D887D}"/>
              </a:ext>
            </a:extLst>
          </p:cNvPr>
          <p:cNvSpPr/>
          <p:nvPr/>
        </p:nvSpPr>
        <p:spPr>
          <a:xfrm>
            <a:off x="11945912" y="1677649"/>
            <a:ext cx="5571344" cy="958143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Gamma”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b="1" dirty="0">
                <a:solidFill>
                  <a:srgbClr val="FFFFFF"/>
                </a:solidFill>
                <a:latin typeface="Arial"/>
              </a:rPr>
              <a:t>SoMe + DBA + Boliga 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taktiske placeringer Boliga univers)</a:t>
            </a:r>
          </a:p>
        </p:txBody>
      </p:sp>
      <p:sp>
        <p:nvSpPr>
          <p:cNvPr id="18" name="Heptagon 17">
            <a:extLst>
              <a:ext uri="{FF2B5EF4-FFF2-40B4-BE49-F238E27FC236}">
                <a16:creationId xmlns:a16="http://schemas.microsoft.com/office/drawing/2014/main" id="{1EBC15E9-CB48-D257-CC89-5BB6EEEBAECB}"/>
              </a:ext>
            </a:extLst>
          </p:cNvPr>
          <p:cNvSpPr/>
          <p:nvPr/>
        </p:nvSpPr>
        <p:spPr>
          <a:xfrm rot="573780">
            <a:off x="14302012" y="1034142"/>
            <a:ext cx="1109392" cy="726168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Boliga</a:t>
            </a:r>
          </a:p>
        </p:txBody>
      </p:sp>
      <p:sp>
        <p:nvSpPr>
          <p:cNvPr id="19" name="Heptagon 18">
            <a:extLst>
              <a:ext uri="{FF2B5EF4-FFF2-40B4-BE49-F238E27FC236}">
                <a16:creationId xmlns:a16="http://schemas.microsoft.com/office/drawing/2014/main" id="{5C0A05AB-728E-102F-AD72-A719D43B4BBB}"/>
              </a:ext>
            </a:extLst>
          </p:cNvPr>
          <p:cNvSpPr/>
          <p:nvPr/>
        </p:nvSpPr>
        <p:spPr>
          <a:xfrm rot="573780">
            <a:off x="205012" y="97198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sp>
        <p:nvSpPr>
          <p:cNvPr id="2" name="Heptagon 1">
            <a:extLst>
              <a:ext uri="{FF2B5EF4-FFF2-40B4-BE49-F238E27FC236}">
                <a16:creationId xmlns:a16="http://schemas.microsoft.com/office/drawing/2014/main" id="{554E29B2-C2D9-A494-4BB1-A52B8041C9BA}"/>
              </a:ext>
            </a:extLst>
          </p:cNvPr>
          <p:cNvSpPr/>
          <p:nvPr/>
        </p:nvSpPr>
        <p:spPr>
          <a:xfrm rot="573780">
            <a:off x="6153195" y="95794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sp>
        <p:nvSpPr>
          <p:cNvPr id="14" name="Heptagon 13">
            <a:extLst>
              <a:ext uri="{FF2B5EF4-FFF2-40B4-BE49-F238E27FC236}">
                <a16:creationId xmlns:a16="http://schemas.microsoft.com/office/drawing/2014/main" id="{A9120924-4F1E-8D75-B9BD-1251DFD82AA2}"/>
              </a:ext>
            </a:extLst>
          </p:cNvPr>
          <p:cNvSpPr/>
          <p:nvPr/>
        </p:nvSpPr>
        <p:spPr>
          <a:xfrm rot="573780">
            <a:off x="13463812" y="1053624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sp>
        <p:nvSpPr>
          <p:cNvPr id="16" name="Heptagon 15">
            <a:extLst>
              <a:ext uri="{FF2B5EF4-FFF2-40B4-BE49-F238E27FC236}">
                <a16:creationId xmlns:a16="http://schemas.microsoft.com/office/drawing/2014/main" id="{18DDA87A-6284-EB12-E53E-997CD76054EE}"/>
              </a:ext>
            </a:extLst>
          </p:cNvPr>
          <p:cNvSpPr/>
          <p:nvPr/>
        </p:nvSpPr>
        <p:spPr>
          <a:xfrm rot="573780">
            <a:off x="12549412" y="1034142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graphicFrame>
        <p:nvGraphicFramePr>
          <p:cNvPr id="25" name="Table 25">
            <a:extLst>
              <a:ext uri="{FF2B5EF4-FFF2-40B4-BE49-F238E27FC236}">
                <a16:creationId xmlns:a16="http://schemas.microsoft.com/office/drawing/2014/main" id="{BCDAA00A-9965-E6D1-0216-D09A9EFDAB32}"/>
              </a:ext>
            </a:extLst>
          </p:cNvPr>
          <p:cNvGraphicFramePr>
            <a:graphicFrameLocks noGrp="1"/>
          </p:cNvGraphicFramePr>
          <p:nvPr/>
        </p:nvGraphicFramePr>
        <p:xfrm>
          <a:off x="228600" y="2650140"/>
          <a:ext cx="5020456" cy="593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00400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1820056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Me annoncering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5.9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062675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90474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488524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31447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58882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liga økonomi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4759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1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4386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diespend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1.5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7345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mkostning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1.6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8139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4.5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66650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 ved 40 solg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182.8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29269690"/>
                  </a:ext>
                </a:extLst>
              </a:tr>
            </a:tbl>
          </a:graphicData>
        </a:graphic>
      </p:graphicFrame>
      <p:sp>
        <p:nvSpPr>
          <p:cNvPr id="23" name="Heptagon 22">
            <a:extLst>
              <a:ext uri="{FF2B5EF4-FFF2-40B4-BE49-F238E27FC236}">
                <a16:creationId xmlns:a16="http://schemas.microsoft.com/office/drawing/2014/main" id="{6D2F8094-2794-0D9A-CFD0-0095BB2E587C}"/>
              </a:ext>
            </a:extLst>
          </p:cNvPr>
          <p:cNvSpPr/>
          <p:nvPr/>
        </p:nvSpPr>
        <p:spPr>
          <a:xfrm rot="573780">
            <a:off x="7063012" y="977424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6FE5903F-C3E7-9BA8-B0A8-CFB6AAB7E59E}"/>
              </a:ext>
            </a:extLst>
          </p:cNvPr>
          <p:cNvGraphicFramePr>
            <a:graphicFrameLocks noGrp="1"/>
          </p:cNvGraphicFramePr>
          <p:nvPr/>
        </p:nvGraphicFramePr>
        <p:xfrm>
          <a:off x="5975240" y="2671987"/>
          <a:ext cx="5240312" cy="7026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7360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1842952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+ DBA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SoMe katalog inkl. oprettel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1371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  <a:p>
                      <a:pPr algn="l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A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10 kr. pr. klik v/ 300 klik md. x 5 (fortjeneste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9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Oprettelse DB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3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7.3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4759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996644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967086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4386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liga økonomi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7345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SoMe + DB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      25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8139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diespend </a:t>
                      </a:r>
                      <a:r>
                        <a:rPr lang="en-GB" sz="16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oME</a:t>
                      </a:r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  1.50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650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diespend DB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      18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9269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mkostning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  1.93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33632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  5.44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60054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 ved 30 solgt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163.20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6221010"/>
                  </a:ext>
                </a:extLst>
              </a:tr>
            </a:tbl>
          </a:graphicData>
        </a:graphic>
      </p:graphicFrame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B86DBB68-42FF-8E4C-D035-0F3B1B59E9EF}"/>
              </a:ext>
            </a:extLst>
          </p:cNvPr>
          <p:cNvGraphicFramePr>
            <a:graphicFrameLocks noGrp="1"/>
          </p:cNvGraphicFramePr>
          <p:nvPr/>
        </p:nvGraphicFramePr>
        <p:xfrm>
          <a:off x="11945912" y="2671987"/>
          <a:ext cx="5571344" cy="62680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22688">
                  <a:extLst>
                    <a:ext uri="{9D8B030D-6E8A-4147-A177-3AD203B41FA5}">
                      <a16:colId xmlns:a16="http://schemas.microsoft.com/office/drawing/2014/main" val="134017258"/>
                    </a:ext>
                  </a:extLst>
                </a:gridCol>
                <a:gridCol w="2048656">
                  <a:extLst>
                    <a:ext uri="{9D8B030D-6E8A-4147-A177-3AD203B41FA5}">
                      <a16:colId xmlns:a16="http://schemas.microsoft.com/office/drawing/2014/main" val="13422686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SoMe Katalog + DBA + Boliga  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600" i="0" dirty="0">
                          <a:latin typeface="+mn-lt"/>
                        </a:rPr>
                        <a:t>Pris 6 mdr.</a:t>
                      </a:r>
                    </a:p>
                  </a:txBody>
                  <a:tcP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89051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 SoMe katalog inkl. oprettels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r" defTabSz="13715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6.170,-</a:t>
                      </a:r>
                    </a:p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2434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BA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430313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0,10 kr. pr. klik v/ 300 klik md. x 5 (fortjeneste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9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992087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 algn="l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Oprettelse DB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3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17104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liger på Boliga.dk (Boliga univers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0" i="0" dirty="0">
                          <a:solidFill>
                            <a:schemeClr val="tx1"/>
                          </a:solidFill>
                          <a:latin typeface="+mn-lt"/>
                        </a:rPr>
                        <a:t>4.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84759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137156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Boliga.dk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i="0" dirty="0">
                          <a:solidFill>
                            <a:schemeClr val="tx1"/>
                          </a:solidFill>
                          <a:latin typeface="+mn-lt"/>
                        </a:rPr>
                        <a:t>20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45342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is mægl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sz="1600" b="1" i="0" dirty="0">
                          <a:solidFill>
                            <a:schemeClr val="tx1"/>
                          </a:solidFill>
                          <a:latin typeface="+mn-lt"/>
                        </a:rPr>
                        <a:t>11.770,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77215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843867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oliga økonomi: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6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73454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rettelse SoMe + DBA + Bolig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35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681393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diespend SoM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1.500,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666505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ediespend DB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180,-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292696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mkostninger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2030,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133632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9.740,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260054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tjeneste ved 20 solgte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DK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194.800,-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6221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65556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6400100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381000" y="876300"/>
            <a:ext cx="13074783" cy="8229600"/>
            <a:chOff x="911225" y="571500"/>
            <a:chExt cx="3699948" cy="54863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860550"/>
              <a:ext cx="3681413" cy="41973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a-DK" sz="27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738313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715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defTabSz="1371600">
                <a:defRPr/>
              </a:pPr>
              <a:r>
                <a:rPr lang="da-DK" b="1" i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SoMe-pakken</a:t>
              </a:r>
              <a:r>
                <a:rPr lang="da-DK" b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: Nyt annonceprodukt til mæglerne </a:t>
              </a:r>
            </a:p>
            <a:p>
              <a:pPr defTabSz="1371600">
                <a:defRPr/>
              </a:pPr>
              <a:endParaRPr lang="da-DK" b="1" dirty="0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cxnSp>
        <p:nvCxnSpPr>
          <p:cNvPr id="11" name="Straight Connector 42">
            <a:extLst>
              <a:ext uri="{FF2B5EF4-FFF2-40B4-BE49-F238E27FC236}">
                <a16:creationId xmlns:a16="http://schemas.microsoft.com/office/drawing/2014/main" id="{1321A835-DC70-45F8-A994-841909C5B415}"/>
              </a:ext>
            </a:extLst>
          </p:cNvPr>
          <p:cNvCxnSpPr>
            <a:cxnSpLocks/>
          </p:cNvCxnSpPr>
          <p:nvPr/>
        </p:nvCxnSpPr>
        <p:spPr>
          <a:xfrm>
            <a:off x="13668375" y="260747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26">
            <a:extLst>
              <a:ext uri="{FF2B5EF4-FFF2-40B4-BE49-F238E27FC236}">
                <a16:creationId xmlns:a16="http://schemas.microsoft.com/office/drawing/2014/main" id="{61BA3C01-D5C1-41B2-9AF2-CB3B07A91022}"/>
              </a:ext>
            </a:extLst>
          </p:cNvPr>
          <p:cNvSpPr txBox="1"/>
          <p:nvPr/>
        </p:nvSpPr>
        <p:spPr>
          <a:xfrm>
            <a:off x="13668376" y="2145507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Baggrund</a:t>
            </a:r>
          </a:p>
        </p:txBody>
      </p:sp>
      <p:sp>
        <p:nvSpPr>
          <p:cNvPr id="418" name="Pil: pentagon 417">
            <a:extLst>
              <a:ext uri="{FF2B5EF4-FFF2-40B4-BE49-F238E27FC236}">
                <a16:creationId xmlns:a16="http://schemas.microsoft.com/office/drawing/2014/main" id="{7DF3A95A-B14E-4818-B574-68DFFFB1ABDF}"/>
              </a:ext>
            </a:extLst>
          </p:cNvPr>
          <p:cNvSpPr/>
          <p:nvPr/>
        </p:nvSpPr>
        <p:spPr>
          <a:xfrm>
            <a:off x="430064" y="2875160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TIL MÆGLER</a:t>
            </a:r>
          </a:p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sp>
        <p:nvSpPr>
          <p:cNvPr id="560" name="Tekstfelt 559">
            <a:extLst>
              <a:ext uri="{FF2B5EF4-FFF2-40B4-BE49-F238E27FC236}">
                <a16:creationId xmlns:a16="http://schemas.microsoft.com/office/drawing/2014/main" id="{055EC176-C31A-4D07-996D-2D9FCFA2A1EA}"/>
              </a:ext>
            </a:extLst>
          </p:cNvPr>
          <p:cNvSpPr txBox="1"/>
          <p:nvPr/>
        </p:nvSpPr>
        <p:spPr>
          <a:xfrm>
            <a:off x="304800" y="9332828"/>
            <a:ext cx="15587052" cy="877163"/>
          </a:xfrm>
          <a:prstGeom prst="rect">
            <a:avLst/>
          </a:prstGeom>
          <a:noFill/>
        </p:spPr>
        <p:txBody>
          <a:bodyPr wrap="square" lIns="137160" tIns="68580" rIns="137160" bIns="68580" rtlCol="0" anchor="t">
            <a:spAutoFit/>
          </a:bodyPr>
          <a:lstStyle/>
          <a:p>
            <a:pPr marL="171450" indent="-171450" defTabSz="137160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latin typeface="Arial"/>
              </a:rPr>
              <a:t>Vi kan i princippet tilbyde flere men for at begrænse udvalg og produktionstid, anbefales 2 kataloger pr. mægler. Det kan evt. udbygges over tid men vil afføde mere manuelt arbejde.</a:t>
            </a:r>
          </a:p>
          <a:p>
            <a:pPr defTabSz="1371600">
              <a:defRPr/>
            </a:pPr>
            <a:br>
              <a:rPr lang="da-DK" sz="1200" dirty="0">
                <a:latin typeface="Arial"/>
              </a:rPr>
            </a:br>
            <a:r>
              <a:rPr lang="da-DK" sz="1200" dirty="0">
                <a:latin typeface="Arial"/>
              </a:rPr>
              <a:t>** Sælges en bolig ikke i løbet af 2-6 mdr., vil den optræde i kataloget i hele perioden uden yderligere omsætning til os, da den kører som del af en større kampagne. Mægler kan dog sælge den til boligsælger pr.md.. (boligen vil dog være i kataloget skulle sælger sige nej tak til at betale for yderligere annoncering). Mægler sælger typisk boligannoncer på månedsbasis.   </a:t>
            </a:r>
          </a:p>
        </p:txBody>
      </p:sp>
      <p:sp>
        <p:nvSpPr>
          <p:cNvPr id="14" name="Tekstfelt 15">
            <a:extLst>
              <a:ext uri="{FF2B5EF4-FFF2-40B4-BE49-F238E27FC236}">
                <a16:creationId xmlns:a16="http://schemas.microsoft.com/office/drawing/2014/main" id="{EEFC3342-6AD6-7E6F-3CB0-EBF7486C2BBC}"/>
              </a:ext>
            </a:extLst>
          </p:cNvPr>
          <p:cNvSpPr txBox="1"/>
          <p:nvPr/>
        </p:nvSpPr>
        <p:spPr>
          <a:xfrm>
            <a:off x="430065" y="4053477"/>
            <a:ext cx="7037535" cy="4939114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t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Afvikling og målretning</a:t>
            </a:r>
            <a:br>
              <a:rPr lang="da-DK" sz="1400" b="1" dirty="0">
                <a:solidFill>
                  <a:srgbClr val="FFFFFF"/>
                </a:solidFill>
                <a:latin typeface="Arial"/>
              </a:rPr>
            </a:br>
            <a:r>
              <a:rPr lang="da-DK" sz="1400" dirty="0">
                <a:solidFill>
                  <a:srgbClr val="FFFFFF"/>
                </a:solidFill>
                <a:latin typeface="Arial"/>
              </a:rPr>
              <a:t>Boliga hovedside / Boliga pixel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Geografisk målretning: Kan gøres på region, kommune eller byniveau + radius.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Boligtype målretning: Villa, lejlighed, fritidshus, landejendom osv..</a:t>
            </a:r>
            <a:r>
              <a:rPr lang="da-DK" sz="1400" i="1" dirty="0">
                <a:solidFill>
                  <a:srgbClr val="FFFFFF"/>
                </a:solidFill>
                <a:latin typeface="Arial"/>
              </a:rPr>
              <a:t>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Pris målretning: Boliger over eller under f.eks. 1. mio..</a:t>
            </a:r>
            <a:r>
              <a:rPr lang="da-DK" sz="1400" i="1" dirty="0">
                <a:solidFill>
                  <a:srgbClr val="FFFFFF"/>
                </a:solidFill>
                <a:latin typeface="Arial"/>
              </a:rPr>
              <a:t>  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Annonceformat</a:t>
            </a:r>
            <a:br>
              <a:rPr lang="da-DK" sz="1400" dirty="0">
                <a:solidFill>
                  <a:srgbClr val="FFFFFF"/>
                </a:solidFill>
                <a:latin typeface="Arial"/>
              </a:rPr>
            </a:br>
            <a:r>
              <a:rPr lang="da-DK" sz="1400" dirty="0">
                <a:solidFill>
                  <a:srgbClr val="FFFFFF"/>
                </a:solidFill>
                <a:latin typeface="Arial"/>
              </a:rPr>
              <a:t>Op til 2 kataloger (karruseller) pr. mægler med max. 11 boliger i hver.*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Løbende og automatisk udskiftning af boliger i katalog (karrusel). 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Billede, pris og link hentes automatisk fra BVS. Specifik tekst pr. katalog, der passer til boligerne og området. F.eks. ”Se de billigste villaer i Silkeborg her.” 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b="1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Levetid</a:t>
            </a:r>
            <a:br>
              <a:rPr lang="da-DK" sz="1400" dirty="0">
                <a:solidFill>
                  <a:srgbClr val="FFFFFF"/>
                </a:solidFill>
                <a:latin typeface="Arial"/>
              </a:rPr>
            </a:br>
            <a:r>
              <a:rPr lang="da-DK" sz="1400" dirty="0">
                <a:solidFill>
                  <a:srgbClr val="FFFFFF"/>
                </a:solidFill>
                <a:latin typeface="Arial"/>
              </a:rPr>
              <a:t>Mægler køber abonnement (6 mdr.) pr. katalog og er sikret at dette automatisk er opdaterede med nytilkomne boliger til salg. 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 </a:t>
            </a:r>
          </a:p>
        </p:txBody>
      </p:sp>
      <p:cxnSp>
        <p:nvCxnSpPr>
          <p:cNvPr id="567" name="Lige forbindelse 566">
            <a:extLst>
              <a:ext uri="{FF2B5EF4-FFF2-40B4-BE49-F238E27FC236}">
                <a16:creationId xmlns:a16="http://schemas.microsoft.com/office/drawing/2014/main" id="{8320A303-F262-40FA-9B71-4F78F26FF2D1}"/>
              </a:ext>
            </a:extLst>
          </p:cNvPr>
          <p:cNvCxnSpPr>
            <a:cxnSpLocks/>
          </p:cNvCxnSpPr>
          <p:nvPr/>
        </p:nvCxnSpPr>
        <p:spPr>
          <a:xfrm>
            <a:off x="1447800" y="5753100"/>
            <a:ext cx="7154810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7370AB63-7574-8B05-D114-980C0B12D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822245"/>
            <a:ext cx="1149034" cy="350455"/>
          </a:xfrm>
          <a:prstGeom prst="rect">
            <a:avLst/>
          </a:prstGeom>
        </p:spPr>
      </p:pic>
      <p:sp>
        <p:nvSpPr>
          <p:cNvPr id="24" name="Titel 2">
            <a:extLst>
              <a:ext uri="{FF2B5EF4-FFF2-40B4-BE49-F238E27FC236}">
                <a16:creationId xmlns:a16="http://schemas.microsoft.com/office/drawing/2014/main" id="{6470C555-6C03-0812-275B-64F1D124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-45242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SoMe katalog – TIL MÆLGER </a:t>
            </a:r>
            <a:endParaRPr lang="da-DK" sz="8100" dirty="0"/>
          </a:p>
        </p:txBody>
      </p:sp>
      <p:sp>
        <p:nvSpPr>
          <p:cNvPr id="31" name="Rektangel 7">
            <a:extLst>
              <a:ext uri="{FF2B5EF4-FFF2-40B4-BE49-F238E27FC236}">
                <a16:creationId xmlns:a16="http://schemas.microsoft.com/office/drawing/2014/main" id="{5A1F8830-4A55-AA8F-F471-FCEA08E59104}"/>
              </a:ext>
            </a:extLst>
          </p:cNvPr>
          <p:cNvSpPr/>
          <p:nvPr/>
        </p:nvSpPr>
        <p:spPr>
          <a:xfrm>
            <a:off x="13639800" y="2809876"/>
            <a:ext cx="4267200" cy="629602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b="1" dirty="0">
                <a:solidFill>
                  <a:schemeClr val="tx1"/>
                </a:solidFill>
                <a:latin typeface="Arial"/>
              </a:rPr>
              <a:t>Mere lokalt</a:t>
            </a:r>
            <a:br>
              <a:rPr lang="da-DK" sz="1400" dirty="0">
                <a:solidFill>
                  <a:schemeClr val="tx1"/>
                </a:solidFill>
                <a:latin typeface="Arial"/>
              </a:rPr>
            </a:br>
            <a:r>
              <a:rPr lang="da-DK" sz="1400" dirty="0">
                <a:solidFill>
                  <a:schemeClr val="tx1"/>
                </a:solidFill>
                <a:latin typeface="Arial"/>
              </a:rPr>
              <a:t>Dette mæglerprodukt er baseret på en forbedret udgave af det katalog, vi i dag sælger til kunder.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Målretningen er forstærket og mere lokal forankret. Teksten er tilpasset og ikke generisk. 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Her er ingen risiko for økonomisk tab, da FB fordeler budgettet hen over 6 mdr. Den her kan i modsætning til katalog til kunderne fungerer økonomisk selv om der blot er én bolig i kataloget. 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b="1" dirty="0">
                <a:solidFill>
                  <a:schemeClr val="tx1"/>
                </a:solidFill>
                <a:latin typeface="Arial"/>
              </a:rPr>
              <a:t>Fordele for mægler</a:t>
            </a: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Nye boliger kommer automatisk ind i mæglers eget katalog, og mægler - og sælger - er garanteret løbende lokal markedsføring af boligen.**</a:t>
            </a:r>
          </a:p>
          <a:p>
            <a:pPr defTabSz="1371600">
              <a:defRPr/>
            </a:pPr>
            <a:endParaRPr lang="da-DK" sz="1400" b="1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endParaRPr lang="da-DK" sz="1400" b="1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b="1" dirty="0">
                <a:solidFill>
                  <a:schemeClr val="tx1"/>
                </a:solidFill>
                <a:latin typeface="Arial"/>
              </a:rPr>
              <a:t>Øget trafik</a:t>
            </a: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Som afledt effekt (ved 30 kataloger) forventes det, at dette produkt vil give mellem </a:t>
            </a: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112.500 (6 mdr.) - 168.000 (12 mdr.)  estimerede klik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Det skal ses i forhold til, at det  nuværende katalog til kunder i 2022 gav 89.987 klik.    </a:t>
            </a:r>
          </a:p>
        </p:txBody>
      </p:sp>
      <p:cxnSp>
        <p:nvCxnSpPr>
          <p:cNvPr id="27" name="Lige forbindelse 566">
            <a:extLst>
              <a:ext uri="{FF2B5EF4-FFF2-40B4-BE49-F238E27FC236}">
                <a16:creationId xmlns:a16="http://schemas.microsoft.com/office/drawing/2014/main" id="{1DDD790F-B961-A65A-16C0-01C4CD515201}"/>
              </a:ext>
            </a:extLst>
          </p:cNvPr>
          <p:cNvCxnSpPr>
            <a:cxnSpLocks/>
          </p:cNvCxnSpPr>
          <p:nvPr/>
        </p:nvCxnSpPr>
        <p:spPr>
          <a:xfrm>
            <a:off x="1524000" y="7353300"/>
            <a:ext cx="7078610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Heptagon 4">
            <a:extLst>
              <a:ext uri="{FF2B5EF4-FFF2-40B4-BE49-F238E27FC236}">
                <a16:creationId xmlns:a16="http://schemas.microsoft.com/office/drawing/2014/main" id="{2242F257-957C-1C95-F006-5BA45E6AF6E7}"/>
              </a:ext>
            </a:extLst>
          </p:cNvPr>
          <p:cNvSpPr/>
          <p:nvPr/>
        </p:nvSpPr>
        <p:spPr>
          <a:xfrm rot="573780">
            <a:off x="433612" y="1801608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</p:spTree>
    <p:extLst>
      <p:ext uri="{BB962C8B-B14F-4D97-AF65-F5344CB8AC3E}">
        <p14:creationId xmlns:p14="http://schemas.microsoft.com/office/powerpoint/2010/main" val="32711577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713132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76300"/>
            <a:ext cx="12161637" cy="8229600"/>
            <a:chOff x="911225" y="571500"/>
            <a:chExt cx="3722196" cy="54863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078385"/>
              <a:ext cx="3722196" cy="497951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a-DK" sz="27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9271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715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defTabSz="1371600">
                <a:defRPr/>
              </a:pPr>
              <a:r>
                <a:rPr lang="da-DK" b="1" i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SoMe-pakken + DBA</a:t>
              </a:r>
              <a:r>
                <a:rPr lang="da-DK" b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: Nyt annonceprodukt til mæglerne </a:t>
              </a:r>
            </a:p>
            <a:p>
              <a:pPr defTabSz="1371600">
                <a:defRPr/>
              </a:pPr>
              <a:endParaRPr lang="da-DK" b="1" dirty="0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cxnSp>
        <p:nvCxnSpPr>
          <p:cNvPr id="11" name="Straight Connector 42">
            <a:extLst>
              <a:ext uri="{FF2B5EF4-FFF2-40B4-BE49-F238E27FC236}">
                <a16:creationId xmlns:a16="http://schemas.microsoft.com/office/drawing/2014/main" id="{1321A835-DC70-45F8-A994-841909C5B415}"/>
              </a:ext>
            </a:extLst>
          </p:cNvPr>
          <p:cNvCxnSpPr>
            <a:cxnSpLocks/>
          </p:cNvCxnSpPr>
          <p:nvPr/>
        </p:nvCxnSpPr>
        <p:spPr>
          <a:xfrm>
            <a:off x="13668375" y="1414463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26">
            <a:extLst>
              <a:ext uri="{FF2B5EF4-FFF2-40B4-BE49-F238E27FC236}">
                <a16:creationId xmlns:a16="http://schemas.microsoft.com/office/drawing/2014/main" id="{61BA3C01-D5C1-41B2-9AF2-CB3B07A91022}"/>
              </a:ext>
            </a:extLst>
          </p:cNvPr>
          <p:cNvSpPr txBox="1"/>
          <p:nvPr/>
        </p:nvSpPr>
        <p:spPr>
          <a:xfrm>
            <a:off x="13668376" y="1040368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Baggrund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7370AB63-7574-8B05-D114-980C0B12D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822245"/>
            <a:ext cx="1149034" cy="350455"/>
          </a:xfrm>
          <a:prstGeom prst="rect">
            <a:avLst/>
          </a:prstGeom>
        </p:spPr>
      </p:pic>
      <p:sp>
        <p:nvSpPr>
          <p:cNvPr id="24" name="Titel 2">
            <a:extLst>
              <a:ext uri="{FF2B5EF4-FFF2-40B4-BE49-F238E27FC236}">
                <a16:creationId xmlns:a16="http://schemas.microsoft.com/office/drawing/2014/main" id="{6470C555-6C03-0812-275B-64F1D124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45242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SoMe og DBA – TIL MÆLGER </a:t>
            </a:r>
            <a:endParaRPr lang="da-DK" sz="8100" dirty="0"/>
          </a:p>
        </p:txBody>
      </p:sp>
      <p:sp>
        <p:nvSpPr>
          <p:cNvPr id="31" name="Rektangel 7">
            <a:extLst>
              <a:ext uri="{FF2B5EF4-FFF2-40B4-BE49-F238E27FC236}">
                <a16:creationId xmlns:a16="http://schemas.microsoft.com/office/drawing/2014/main" id="{5A1F8830-4A55-AA8F-F471-FCEA08E59104}"/>
              </a:ext>
            </a:extLst>
          </p:cNvPr>
          <p:cNvSpPr/>
          <p:nvPr/>
        </p:nvSpPr>
        <p:spPr>
          <a:xfrm>
            <a:off x="13639800" y="1636628"/>
            <a:ext cx="4267200" cy="7469272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Vi har i dag et automatisk feed med boliger til salg på DBA. Vi betaler. Mægler og kunde får det gratis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Vi kan fortsætte dette feed og så fremhæve boliger, der er betaling bag. Grafik fremhævning, flere visning end boliger uden betaling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Evt kun vise boliger på DBA, der er betalt for via denne pakke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Fordele:</a:t>
            </a:r>
            <a:br>
              <a:rPr lang="da-DK" sz="1400" dirty="0">
                <a:solidFill>
                  <a:schemeClr val="tx1"/>
                </a:solidFill>
                <a:latin typeface="Arial"/>
              </a:rPr>
            </a:br>
            <a:r>
              <a:rPr lang="da-DK" sz="1400" dirty="0">
                <a:solidFill>
                  <a:schemeClr val="tx1"/>
                </a:solidFill>
                <a:latin typeface="Arial"/>
              </a:rPr>
              <a:t>Alle kender DBA, stor volumen og vi ejer denne placering eksklusivt. Kun hos Boliga!</a:t>
            </a: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Vi tilbyder alternativer til SoMe, som bliver dyrere og dyrere.  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Diskutér!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19" name="Pil: pentagon 417">
            <a:extLst>
              <a:ext uri="{FF2B5EF4-FFF2-40B4-BE49-F238E27FC236}">
                <a16:creationId xmlns:a16="http://schemas.microsoft.com/office/drawing/2014/main" id="{04B206F6-8CE9-03D5-FD9F-CF06941F8D5C}"/>
              </a:ext>
            </a:extLst>
          </p:cNvPr>
          <p:cNvSpPr/>
          <p:nvPr/>
        </p:nvSpPr>
        <p:spPr>
          <a:xfrm>
            <a:off x="1565074" y="1714500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 katalog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sp>
        <p:nvSpPr>
          <p:cNvPr id="20" name="Heptagon 19">
            <a:extLst>
              <a:ext uri="{FF2B5EF4-FFF2-40B4-BE49-F238E27FC236}">
                <a16:creationId xmlns:a16="http://schemas.microsoft.com/office/drawing/2014/main" id="{20CB038E-FB8E-2D00-E2FE-57E9A8F8E2D6}"/>
              </a:ext>
            </a:extLst>
          </p:cNvPr>
          <p:cNvSpPr/>
          <p:nvPr/>
        </p:nvSpPr>
        <p:spPr>
          <a:xfrm rot="573780">
            <a:off x="438196" y="2639808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sp>
        <p:nvSpPr>
          <p:cNvPr id="21" name="Pil: pentagon 417">
            <a:extLst>
              <a:ext uri="{FF2B5EF4-FFF2-40B4-BE49-F238E27FC236}">
                <a16:creationId xmlns:a16="http://schemas.microsoft.com/office/drawing/2014/main" id="{2E544F26-C988-8F18-870E-1541D3F7A8C0}"/>
              </a:ext>
            </a:extLst>
          </p:cNvPr>
          <p:cNvSpPr/>
          <p:nvPr/>
        </p:nvSpPr>
        <p:spPr>
          <a:xfrm>
            <a:off x="1564001" y="3107532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Boligannonce </a:t>
            </a:r>
            <a:r>
              <a:rPr lang="da-DK" sz="1500" b="1" dirty="0" err="1">
                <a:solidFill>
                  <a:srgbClr val="FFFFFF"/>
                </a:solidFill>
                <a:latin typeface="Arial"/>
              </a:rPr>
              <a:t>DBA.dk</a:t>
            </a:r>
            <a:r>
              <a:rPr lang="da-DK" sz="1500" b="1" dirty="0">
                <a:solidFill>
                  <a:srgbClr val="FFFFFF"/>
                </a:solidFill>
                <a:latin typeface="Arial"/>
              </a:rPr>
              <a:t>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feed fra Boliga til DBA, kører automatisk)</a:t>
            </a:r>
          </a:p>
        </p:txBody>
      </p:sp>
      <p:sp>
        <p:nvSpPr>
          <p:cNvPr id="22" name="Heptagon 21">
            <a:extLst>
              <a:ext uri="{FF2B5EF4-FFF2-40B4-BE49-F238E27FC236}">
                <a16:creationId xmlns:a16="http://schemas.microsoft.com/office/drawing/2014/main" id="{A9BF2763-66F2-5089-E7A5-7DAD3C3437C0}"/>
              </a:ext>
            </a:extLst>
          </p:cNvPr>
          <p:cNvSpPr/>
          <p:nvPr/>
        </p:nvSpPr>
        <p:spPr>
          <a:xfrm rot="573780">
            <a:off x="433612" y="1268208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  <p:pic>
        <p:nvPicPr>
          <p:cNvPr id="28" name="Picture 27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7401A93D-60E4-A42B-BA07-13758506868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4001" y="4697803"/>
            <a:ext cx="3541399" cy="2765936"/>
          </a:xfrm>
          <a:prstGeom prst="rect">
            <a:avLst/>
          </a:prstGeom>
        </p:spPr>
      </p:pic>
      <p:pic>
        <p:nvPicPr>
          <p:cNvPr id="33" name="Picture 32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955C7A11-973A-EFA2-7D26-6B48425D16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2974" y="7004193"/>
            <a:ext cx="3366993" cy="1997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1613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139512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76300"/>
            <a:ext cx="12161637" cy="9067794"/>
            <a:chOff x="911225" y="571500"/>
            <a:chExt cx="3722196" cy="54863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959972"/>
              <a:ext cx="3722196" cy="509792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a-DK" sz="27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9271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715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defTabSz="1371600">
                <a:defRPr/>
              </a:pPr>
              <a:r>
                <a:rPr lang="da-DK" b="1" i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SoMe-pakken + DBA + </a:t>
              </a:r>
              <a:r>
                <a:rPr lang="da-DK" b="1" i="1" dirty="0" err="1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bolig.dk</a:t>
              </a:r>
              <a:r>
                <a:rPr lang="da-DK" b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: Nyt annonceprodukt til mæglerne </a:t>
              </a:r>
            </a:p>
            <a:p>
              <a:pPr defTabSz="1371600">
                <a:defRPr/>
              </a:pPr>
              <a:endParaRPr lang="da-DK" b="1" dirty="0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cxnSp>
        <p:nvCxnSpPr>
          <p:cNvPr id="11" name="Straight Connector 42">
            <a:extLst>
              <a:ext uri="{FF2B5EF4-FFF2-40B4-BE49-F238E27FC236}">
                <a16:creationId xmlns:a16="http://schemas.microsoft.com/office/drawing/2014/main" id="{1321A835-DC70-45F8-A994-841909C5B415}"/>
              </a:ext>
            </a:extLst>
          </p:cNvPr>
          <p:cNvCxnSpPr>
            <a:cxnSpLocks/>
          </p:cNvCxnSpPr>
          <p:nvPr/>
        </p:nvCxnSpPr>
        <p:spPr>
          <a:xfrm>
            <a:off x="13668375" y="1414463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26">
            <a:extLst>
              <a:ext uri="{FF2B5EF4-FFF2-40B4-BE49-F238E27FC236}">
                <a16:creationId xmlns:a16="http://schemas.microsoft.com/office/drawing/2014/main" id="{61BA3C01-D5C1-41B2-9AF2-CB3B07A91022}"/>
              </a:ext>
            </a:extLst>
          </p:cNvPr>
          <p:cNvSpPr txBox="1"/>
          <p:nvPr/>
        </p:nvSpPr>
        <p:spPr>
          <a:xfrm>
            <a:off x="13668376" y="1040368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Baggrund</a:t>
            </a:r>
          </a:p>
        </p:txBody>
      </p:sp>
      <p:sp>
        <p:nvSpPr>
          <p:cNvPr id="418" name="Pil: pentagon 417">
            <a:extLst>
              <a:ext uri="{FF2B5EF4-FFF2-40B4-BE49-F238E27FC236}">
                <a16:creationId xmlns:a16="http://schemas.microsoft.com/office/drawing/2014/main" id="{7DF3A95A-B14E-4818-B574-68DFFFB1ABDF}"/>
              </a:ext>
            </a:extLst>
          </p:cNvPr>
          <p:cNvSpPr/>
          <p:nvPr/>
        </p:nvSpPr>
        <p:spPr>
          <a:xfrm>
            <a:off x="1565074" y="1714500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SoMe katalog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pic>
        <p:nvPicPr>
          <p:cNvPr id="29" name="Picture 28" descr="Icon&#10;&#10;Description automatically generated">
            <a:extLst>
              <a:ext uri="{FF2B5EF4-FFF2-40B4-BE49-F238E27FC236}">
                <a16:creationId xmlns:a16="http://schemas.microsoft.com/office/drawing/2014/main" id="{7370AB63-7574-8B05-D114-980C0B12D4B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822245"/>
            <a:ext cx="1149034" cy="350455"/>
          </a:xfrm>
          <a:prstGeom prst="rect">
            <a:avLst/>
          </a:prstGeom>
        </p:spPr>
      </p:pic>
      <p:sp>
        <p:nvSpPr>
          <p:cNvPr id="24" name="Titel 2">
            <a:extLst>
              <a:ext uri="{FF2B5EF4-FFF2-40B4-BE49-F238E27FC236}">
                <a16:creationId xmlns:a16="http://schemas.microsoft.com/office/drawing/2014/main" id="{6470C555-6C03-0812-275B-64F1D124E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45242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SoMe, DBA og boliga.dk – TIL MÆLGER </a:t>
            </a:r>
            <a:endParaRPr lang="da-DK" sz="8100" dirty="0"/>
          </a:p>
        </p:txBody>
      </p:sp>
      <p:sp>
        <p:nvSpPr>
          <p:cNvPr id="31" name="Rektangel 7">
            <a:extLst>
              <a:ext uri="{FF2B5EF4-FFF2-40B4-BE49-F238E27FC236}">
                <a16:creationId xmlns:a16="http://schemas.microsoft.com/office/drawing/2014/main" id="{5A1F8830-4A55-AA8F-F471-FCEA08E59104}"/>
              </a:ext>
            </a:extLst>
          </p:cNvPr>
          <p:cNvSpPr/>
          <p:nvPr/>
        </p:nvSpPr>
        <p:spPr>
          <a:xfrm>
            <a:off x="13639800" y="1518358"/>
            <a:ext cx="4267200" cy="8197143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Fremhævede boliger på boliga.dk evt. i app, </a:t>
            </a:r>
            <a:r>
              <a:rPr lang="da-DK" sz="1400" dirty="0" err="1">
                <a:solidFill>
                  <a:schemeClr val="tx1"/>
                </a:solidFill>
                <a:latin typeface="Arial"/>
              </a:rPr>
              <a:t>køberkartotek</a:t>
            </a:r>
            <a:r>
              <a:rPr lang="da-DK" sz="1400" dirty="0">
                <a:solidFill>
                  <a:schemeClr val="tx1"/>
                </a:solidFill>
                <a:latin typeface="Arial"/>
              </a:rPr>
              <a:t>, nyhedsbrev.  Evt også andre sites f.eks. Din </a:t>
            </a:r>
            <a:r>
              <a:rPr lang="da-DK" sz="1400" dirty="0" err="1">
                <a:solidFill>
                  <a:schemeClr val="tx1"/>
                </a:solidFill>
                <a:latin typeface="Arial"/>
              </a:rPr>
              <a:t>geo</a:t>
            </a:r>
            <a:r>
              <a:rPr lang="da-DK" sz="1400" dirty="0">
                <a:solidFill>
                  <a:schemeClr val="tx1"/>
                </a:solidFill>
                <a:latin typeface="Arial"/>
              </a:rPr>
              <a:t>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Boliga er lig med mange købere. En fremhævet bolig på forsiden er til at forstå for kunden – nem at sælge. 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Diskutér!</a:t>
            </a: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endParaRPr lang="da-DK" sz="1400" dirty="0">
              <a:solidFill>
                <a:schemeClr val="tx1"/>
              </a:solidFill>
              <a:latin typeface="Arial"/>
            </a:endParaRPr>
          </a:p>
          <a:p>
            <a:pPr defTabSz="1371600">
              <a:defRPr/>
            </a:pPr>
            <a:r>
              <a:rPr lang="da-DK" sz="1400" dirty="0">
                <a:solidFill>
                  <a:schemeClr val="tx1"/>
                </a:solidFill>
                <a:latin typeface="Arial"/>
              </a:rPr>
              <a:t> </a:t>
            </a:r>
          </a:p>
        </p:txBody>
      </p:sp>
      <p:sp>
        <p:nvSpPr>
          <p:cNvPr id="23" name="Heptagon 22">
            <a:extLst>
              <a:ext uri="{FF2B5EF4-FFF2-40B4-BE49-F238E27FC236}">
                <a16:creationId xmlns:a16="http://schemas.microsoft.com/office/drawing/2014/main" id="{6D2F8094-2794-0D9A-CFD0-0095BB2E587C}"/>
              </a:ext>
            </a:extLst>
          </p:cNvPr>
          <p:cNvSpPr/>
          <p:nvPr/>
        </p:nvSpPr>
        <p:spPr>
          <a:xfrm rot="573780">
            <a:off x="438196" y="2639808"/>
            <a:ext cx="1109392" cy="726168"/>
          </a:xfrm>
          <a:prstGeom prst="heptagon">
            <a:avLst/>
          </a:prstGeom>
          <a:solidFill>
            <a:schemeClr val="accent4">
              <a:lumMod val="5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DBA</a:t>
            </a:r>
          </a:p>
        </p:txBody>
      </p:sp>
      <p:sp>
        <p:nvSpPr>
          <p:cNvPr id="3" name="Pil: pentagon 417">
            <a:extLst>
              <a:ext uri="{FF2B5EF4-FFF2-40B4-BE49-F238E27FC236}">
                <a16:creationId xmlns:a16="http://schemas.microsoft.com/office/drawing/2014/main" id="{32A43A62-97A0-6E49-672D-E6C72F45FFC4}"/>
              </a:ext>
            </a:extLst>
          </p:cNvPr>
          <p:cNvSpPr/>
          <p:nvPr/>
        </p:nvSpPr>
        <p:spPr>
          <a:xfrm>
            <a:off x="1564001" y="3107532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Boligannonce </a:t>
            </a:r>
            <a:r>
              <a:rPr lang="da-DK" sz="1500" b="1" dirty="0" err="1">
                <a:solidFill>
                  <a:srgbClr val="FFFFFF"/>
                </a:solidFill>
                <a:latin typeface="Arial"/>
              </a:rPr>
              <a:t>DBA.dk</a:t>
            </a:r>
            <a:r>
              <a:rPr lang="da-DK" sz="1500" b="1" dirty="0">
                <a:solidFill>
                  <a:srgbClr val="FFFFFF"/>
                </a:solidFill>
                <a:latin typeface="Arial"/>
              </a:rPr>
              <a:t>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feed fra Boliga til DBA, kører automatisk)</a:t>
            </a:r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A3CE4006-8661-C4B9-136A-FF0D623D887D}"/>
              </a:ext>
            </a:extLst>
          </p:cNvPr>
          <p:cNvSpPr/>
          <p:nvPr/>
        </p:nvSpPr>
        <p:spPr>
          <a:xfrm>
            <a:off x="1565075" y="4533900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Boligannonce boliga.dk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fremhævet bolig på forsiden og øvrige placeringer)</a:t>
            </a:r>
          </a:p>
        </p:txBody>
      </p:sp>
      <p:sp>
        <p:nvSpPr>
          <p:cNvPr id="18" name="Heptagon 17">
            <a:extLst>
              <a:ext uri="{FF2B5EF4-FFF2-40B4-BE49-F238E27FC236}">
                <a16:creationId xmlns:a16="http://schemas.microsoft.com/office/drawing/2014/main" id="{1EBC15E9-CB48-D257-CC89-5BB6EEEBAECB}"/>
              </a:ext>
            </a:extLst>
          </p:cNvPr>
          <p:cNvSpPr/>
          <p:nvPr/>
        </p:nvSpPr>
        <p:spPr>
          <a:xfrm rot="573780">
            <a:off x="433612" y="4087608"/>
            <a:ext cx="1109392" cy="726168"/>
          </a:xfrm>
          <a:prstGeom prst="heptagon">
            <a:avLst/>
          </a:prstGeom>
          <a:solidFill>
            <a:schemeClr val="accent1">
              <a:lumMod val="60000"/>
              <a:lumOff val="40000"/>
            </a:schemeClr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Boliga</a:t>
            </a:r>
          </a:p>
        </p:txBody>
      </p:sp>
      <p:sp>
        <p:nvSpPr>
          <p:cNvPr id="19" name="Heptagon 18">
            <a:extLst>
              <a:ext uri="{FF2B5EF4-FFF2-40B4-BE49-F238E27FC236}">
                <a16:creationId xmlns:a16="http://schemas.microsoft.com/office/drawing/2014/main" id="{5C0A05AB-728E-102F-AD72-A719D43B4BBB}"/>
              </a:ext>
            </a:extLst>
          </p:cNvPr>
          <p:cNvSpPr/>
          <p:nvPr/>
        </p:nvSpPr>
        <p:spPr>
          <a:xfrm rot="573780">
            <a:off x="433612" y="1268208"/>
            <a:ext cx="1109392" cy="726168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600" b="1" dirty="0">
                <a:solidFill>
                  <a:schemeClr val="bg1"/>
                </a:solidFill>
              </a:rPr>
              <a:t>SoMe</a:t>
            </a:r>
          </a:p>
        </p:txBody>
      </p:sp>
    </p:spTree>
    <p:extLst>
      <p:ext uri="{BB962C8B-B14F-4D97-AF65-F5344CB8AC3E}">
        <p14:creationId xmlns:p14="http://schemas.microsoft.com/office/powerpoint/2010/main" val="33339791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10065"/>
              </p:ext>
            </p:ext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08" imgH="408" progId="TCLayout.ActiveDocument.1">
                  <p:embed/>
                </p:oleObj>
              </mc:Choice>
              <mc:Fallback>
                <p:oleObj name="think-cell Slide" r:id="rId2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457199" y="819149"/>
            <a:ext cx="13589001" cy="9353548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>
                <a:defRPr/>
              </a:pPr>
              <a:endParaRPr lang="da-DK" sz="270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defTabSz="1371600">
                <a:defRPr/>
              </a:pPr>
              <a:r>
                <a:rPr lang="da-DK" b="1" dirty="0">
                  <a:solidFill>
                    <a:srgbClr val="003366"/>
                  </a:solidFill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Boliga annonceprodukter inkl. Boliga trafikprodukt </a:t>
              </a:r>
            </a:p>
            <a:p>
              <a:pPr defTabSz="1371600">
                <a:defRPr/>
              </a:pPr>
              <a:endParaRPr lang="da-DK" b="1" dirty="0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cxnSp>
        <p:nvCxnSpPr>
          <p:cNvPr id="11" name="Straight Connector 42">
            <a:extLst>
              <a:ext uri="{FF2B5EF4-FFF2-40B4-BE49-F238E27FC236}">
                <a16:creationId xmlns:a16="http://schemas.microsoft.com/office/drawing/2014/main" id="{1321A835-DC70-45F8-A994-841909C5B415}"/>
              </a:ext>
            </a:extLst>
          </p:cNvPr>
          <p:cNvCxnSpPr>
            <a:cxnSpLocks/>
          </p:cNvCxnSpPr>
          <p:nvPr/>
        </p:nvCxnSpPr>
        <p:spPr>
          <a:xfrm>
            <a:off x="14354175" y="163830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kstfelt 26">
            <a:extLst>
              <a:ext uri="{FF2B5EF4-FFF2-40B4-BE49-F238E27FC236}">
                <a16:creationId xmlns:a16="http://schemas.microsoft.com/office/drawing/2014/main" id="{61BA3C01-D5C1-41B2-9AF2-CB3B07A91022}"/>
              </a:ext>
            </a:extLst>
          </p:cNvPr>
          <p:cNvSpPr txBox="1"/>
          <p:nvPr/>
        </p:nvSpPr>
        <p:spPr>
          <a:xfrm>
            <a:off x="14354176" y="1176337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Anbefalinger</a:t>
            </a:r>
          </a:p>
        </p:txBody>
      </p:sp>
      <p:cxnSp>
        <p:nvCxnSpPr>
          <p:cNvPr id="568" name="Lige forbindelse 567">
            <a:extLst>
              <a:ext uri="{FF2B5EF4-FFF2-40B4-BE49-F238E27FC236}">
                <a16:creationId xmlns:a16="http://schemas.microsoft.com/office/drawing/2014/main" id="{8BCAA022-2AB2-4A84-A283-EF912E881EAC}"/>
              </a:ext>
            </a:extLst>
          </p:cNvPr>
          <p:cNvCxnSpPr>
            <a:cxnSpLocks/>
          </p:cNvCxnSpPr>
          <p:nvPr/>
        </p:nvCxnSpPr>
        <p:spPr>
          <a:xfrm>
            <a:off x="1366838" y="5981700"/>
            <a:ext cx="12742208" cy="0"/>
          </a:xfrm>
          <a:prstGeom prst="line">
            <a:avLst/>
          </a:prstGeom>
          <a:ln w="920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Facebook annoncer performance   </a:t>
            </a:r>
            <a:endParaRPr lang="da-DK" sz="8100" dirty="0"/>
          </a:p>
        </p:txBody>
      </p:sp>
      <p:sp>
        <p:nvSpPr>
          <p:cNvPr id="16" name="Pil: pentagon 417">
            <a:extLst>
              <a:ext uri="{FF2B5EF4-FFF2-40B4-BE49-F238E27FC236}">
                <a16:creationId xmlns:a16="http://schemas.microsoft.com/office/drawing/2014/main" id="{83CB0B53-9C28-881F-F22D-ACC28CFC277D}"/>
              </a:ext>
            </a:extLst>
          </p:cNvPr>
          <p:cNvSpPr/>
          <p:nvPr/>
        </p:nvSpPr>
        <p:spPr>
          <a:xfrm>
            <a:off x="650674" y="1982192"/>
            <a:ext cx="3235525" cy="1121568"/>
          </a:xfrm>
          <a:prstGeom prst="homePlate">
            <a:avLst>
              <a:gd name="adj" fmla="val 7865"/>
            </a:avLst>
          </a:prstGeom>
          <a:solidFill>
            <a:srgbClr val="164573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B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  <a:p>
            <a:pPr algn="ctr" defTabSz="1371600"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   </a:t>
            </a:r>
          </a:p>
          <a:p>
            <a:pPr algn="ctr" defTabSz="1371600">
              <a:defRPr/>
            </a:pPr>
            <a:endParaRPr lang="da-DK" sz="1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6042D5D7-66D7-BF00-8AC9-30A38DF73DBB}"/>
              </a:ext>
            </a:extLst>
          </p:cNvPr>
          <p:cNvSpPr/>
          <p:nvPr/>
        </p:nvSpPr>
        <p:spPr>
          <a:xfrm>
            <a:off x="650675" y="3239941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accent2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B annonce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eksklusiv, enkeltstående)</a:t>
            </a:r>
          </a:p>
          <a:p>
            <a:pPr algn="ctr" defTabSz="1371600">
              <a:defRPr/>
            </a:pPr>
            <a:br>
              <a:rPr lang="da-DK" sz="1200" b="1" dirty="0">
                <a:solidFill>
                  <a:srgbClr val="FFFFFF"/>
                </a:solidFill>
                <a:latin typeface="Arial"/>
              </a:rPr>
            </a:br>
            <a:endParaRPr lang="da-DK" sz="15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Pil: pentagon 417">
            <a:extLst>
              <a:ext uri="{FF2B5EF4-FFF2-40B4-BE49-F238E27FC236}">
                <a16:creationId xmlns:a16="http://schemas.microsoft.com/office/drawing/2014/main" id="{13BDBBBB-A199-C386-813B-7765F6371FF8}"/>
              </a:ext>
            </a:extLst>
          </p:cNvPr>
          <p:cNvSpPr/>
          <p:nvPr/>
        </p:nvSpPr>
        <p:spPr>
          <a:xfrm>
            <a:off x="650674" y="4534807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accent4">
              <a:lumMod val="7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endParaRPr lang="da-DK" sz="1500" b="1" dirty="0">
              <a:solidFill>
                <a:srgbClr val="FFFFFF"/>
              </a:solidFill>
              <a:latin typeface="Arial"/>
            </a:endParaRP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Boliga FB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  <a:p>
            <a:pPr algn="ctr" defTabSz="1371600">
              <a:defRPr/>
            </a:pPr>
            <a:r>
              <a:rPr lang="da-DK" sz="1200" i="1" dirty="0">
                <a:solidFill>
                  <a:srgbClr val="FFFFFF"/>
                </a:solidFill>
                <a:latin typeface="Arial"/>
              </a:rPr>
              <a:t>Betalt af Boliga</a:t>
            </a:r>
          </a:p>
          <a:p>
            <a:pPr algn="ctr" defTabSz="1371600">
              <a:defRPr/>
            </a:pPr>
            <a:r>
              <a:rPr lang="da-DK" sz="1200" i="1" dirty="0">
                <a:solidFill>
                  <a:srgbClr val="FFFFFF"/>
                </a:solidFill>
                <a:latin typeface="Arial"/>
              </a:rPr>
              <a:t> </a:t>
            </a:r>
            <a:endParaRPr lang="da-DK" sz="1500" i="1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3" name="Lige forbindelse 567">
            <a:extLst>
              <a:ext uri="{FF2B5EF4-FFF2-40B4-BE49-F238E27FC236}">
                <a16:creationId xmlns:a16="http://schemas.microsoft.com/office/drawing/2014/main" id="{0C3EBE4A-7EAD-A1D4-EBB0-56B7A1CED430}"/>
              </a:ext>
            </a:extLst>
          </p:cNvPr>
          <p:cNvCxnSpPr>
            <a:cxnSpLocks/>
          </p:cNvCxnSpPr>
          <p:nvPr/>
        </p:nvCxnSpPr>
        <p:spPr>
          <a:xfrm>
            <a:off x="1337629" y="44577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Lige forbindelse 567">
            <a:extLst>
              <a:ext uri="{FF2B5EF4-FFF2-40B4-BE49-F238E27FC236}">
                <a16:creationId xmlns:a16="http://schemas.microsoft.com/office/drawing/2014/main" id="{15E9A6A5-F1D9-C3E3-6462-D81730212620}"/>
              </a:ext>
            </a:extLst>
          </p:cNvPr>
          <p:cNvCxnSpPr>
            <a:cxnSpLocks/>
          </p:cNvCxnSpPr>
          <p:nvPr/>
        </p:nvCxnSpPr>
        <p:spPr>
          <a:xfrm>
            <a:off x="1371600" y="31623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kstfelt 15">
            <a:extLst>
              <a:ext uri="{FF2B5EF4-FFF2-40B4-BE49-F238E27FC236}">
                <a16:creationId xmlns:a16="http://schemas.microsoft.com/office/drawing/2014/main" id="{2F96287F-C4FC-38C4-92AC-91EA8F7836B3}"/>
              </a:ext>
            </a:extLst>
          </p:cNvPr>
          <p:cNvSpPr txBox="1"/>
          <p:nvPr/>
        </p:nvSpPr>
        <p:spPr>
          <a:xfrm>
            <a:off x="4161498" y="1996712"/>
            <a:ext cx="3233881" cy="1107048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Automatiseret annonceprodukt til boligsælger. Sælger deler placering med øvrige boligsælgere. </a:t>
            </a:r>
          </a:p>
        </p:txBody>
      </p:sp>
      <p:sp>
        <p:nvSpPr>
          <p:cNvPr id="27" name="Tekstfelt 15">
            <a:extLst>
              <a:ext uri="{FF2B5EF4-FFF2-40B4-BE49-F238E27FC236}">
                <a16:creationId xmlns:a16="http://schemas.microsoft.com/office/drawing/2014/main" id="{6F97059A-415E-E067-4362-69722CE387F1}"/>
              </a:ext>
            </a:extLst>
          </p:cNvPr>
          <p:cNvSpPr txBox="1"/>
          <p:nvPr/>
        </p:nvSpPr>
        <p:spPr>
          <a:xfrm>
            <a:off x="4159354" y="3238500"/>
            <a:ext cx="3235524" cy="112156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Manuelt annonceprodukt til boligsælger. Enkeltstående annonce.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dirty="0">
                <a:solidFill>
                  <a:srgbClr val="FFFFFF"/>
                </a:solidFill>
                <a:latin typeface="Arial"/>
              </a:rPr>
              <a:t>  </a:t>
            </a:r>
          </a:p>
        </p:txBody>
      </p:sp>
      <p:sp>
        <p:nvSpPr>
          <p:cNvPr id="29" name="Tekstfelt 15">
            <a:extLst>
              <a:ext uri="{FF2B5EF4-FFF2-40B4-BE49-F238E27FC236}">
                <a16:creationId xmlns:a16="http://schemas.microsoft.com/office/drawing/2014/main" id="{AB5AE770-DF47-8C70-BBC0-CCAAE7887790}"/>
              </a:ext>
            </a:extLst>
          </p:cNvPr>
          <p:cNvSpPr txBox="1"/>
          <p:nvPr/>
        </p:nvSpPr>
        <p:spPr>
          <a:xfrm>
            <a:off x="4159352" y="4537490"/>
            <a:ext cx="3235525" cy="111744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noFill/>
          </a:ln>
        </p:spPr>
        <p:txBody>
          <a:bodyPr wrap="square" rtlCol="0" anchor="t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Boliga produkt med henblik på at skaffe trafik til boliga.dk. Kører ikke som øvrige med et månedligt budget men med et såkaldt ”livstidsbudget” (seneste har det kørt i 10 måneder).</a:t>
            </a:r>
          </a:p>
        </p:txBody>
      </p:sp>
      <p:cxnSp>
        <p:nvCxnSpPr>
          <p:cNvPr id="33" name="Lige forbindelse 567">
            <a:extLst>
              <a:ext uri="{FF2B5EF4-FFF2-40B4-BE49-F238E27FC236}">
                <a16:creationId xmlns:a16="http://schemas.microsoft.com/office/drawing/2014/main" id="{49E19AE0-5FEF-B275-C82D-F0A416DD8ABF}"/>
              </a:ext>
            </a:extLst>
          </p:cNvPr>
          <p:cNvCxnSpPr>
            <a:cxnSpLocks/>
          </p:cNvCxnSpPr>
          <p:nvPr/>
        </p:nvCxnSpPr>
        <p:spPr>
          <a:xfrm>
            <a:off x="1413829" y="44577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ekstfelt 15">
            <a:extLst>
              <a:ext uri="{FF2B5EF4-FFF2-40B4-BE49-F238E27FC236}">
                <a16:creationId xmlns:a16="http://schemas.microsoft.com/office/drawing/2014/main" id="{871D415E-6572-9E67-1B28-DAC385D8A1AC}"/>
              </a:ext>
            </a:extLst>
          </p:cNvPr>
          <p:cNvSpPr txBox="1"/>
          <p:nvPr/>
        </p:nvSpPr>
        <p:spPr>
          <a:xfrm>
            <a:off x="7622146" y="1996712"/>
            <a:ext cx="2343702" cy="1107048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761.616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: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 91.679</a:t>
            </a:r>
          </a:p>
        </p:txBody>
      </p:sp>
      <p:sp>
        <p:nvSpPr>
          <p:cNvPr id="14" name="Tekstfelt 15">
            <a:extLst>
              <a:ext uri="{FF2B5EF4-FFF2-40B4-BE49-F238E27FC236}">
                <a16:creationId xmlns:a16="http://schemas.microsoft.com/office/drawing/2014/main" id="{1C2FFF30-4D75-3B7A-AB35-808B530AB76F}"/>
              </a:ext>
            </a:extLst>
          </p:cNvPr>
          <p:cNvSpPr txBox="1"/>
          <p:nvPr/>
        </p:nvSpPr>
        <p:spPr>
          <a:xfrm>
            <a:off x="7623072" y="3238500"/>
            <a:ext cx="2344894" cy="112156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709.000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147.772</a:t>
            </a:r>
          </a:p>
        </p:txBody>
      </p:sp>
      <p:sp>
        <p:nvSpPr>
          <p:cNvPr id="20" name="Tekstfelt 15">
            <a:extLst>
              <a:ext uri="{FF2B5EF4-FFF2-40B4-BE49-F238E27FC236}">
                <a16:creationId xmlns:a16="http://schemas.microsoft.com/office/drawing/2014/main" id="{0CCA1134-FF2B-9C95-8B91-71761F2CDB4A}"/>
              </a:ext>
            </a:extLst>
          </p:cNvPr>
          <p:cNvSpPr txBox="1"/>
          <p:nvPr/>
        </p:nvSpPr>
        <p:spPr>
          <a:xfrm>
            <a:off x="7620000" y="4536869"/>
            <a:ext cx="2344894" cy="111744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3.296.598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405.994</a:t>
            </a:r>
          </a:p>
        </p:txBody>
      </p:sp>
      <p:sp>
        <p:nvSpPr>
          <p:cNvPr id="22" name="Tekstfelt 15">
            <a:extLst>
              <a:ext uri="{FF2B5EF4-FFF2-40B4-BE49-F238E27FC236}">
                <a16:creationId xmlns:a16="http://schemas.microsoft.com/office/drawing/2014/main" id="{A44694E5-8E44-0846-3BE4-B596172C935C}"/>
              </a:ext>
            </a:extLst>
          </p:cNvPr>
          <p:cNvSpPr txBox="1"/>
          <p:nvPr/>
        </p:nvSpPr>
        <p:spPr>
          <a:xfrm>
            <a:off x="10090830" y="2019300"/>
            <a:ext cx="1584252" cy="1107048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89.987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3,38 %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1,40 kr. </a:t>
            </a:r>
          </a:p>
        </p:txBody>
      </p:sp>
      <p:sp>
        <p:nvSpPr>
          <p:cNvPr id="25" name="Tekstfelt 15">
            <a:extLst>
              <a:ext uri="{FF2B5EF4-FFF2-40B4-BE49-F238E27FC236}">
                <a16:creationId xmlns:a16="http://schemas.microsoft.com/office/drawing/2014/main" id="{C738170B-8672-1FD1-3F79-52E04F809C9C}"/>
              </a:ext>
            </a:extLst>
          </p:cNvPr>
          <p:cNvSpPr txBox="1"/>
          <p:nvPr/>
        </p:nvSpPr>
        <p:spPr>
          <a:xfrm>
            <a:off x="10091757" y="3261088"/>
            <a:ext cx="1585058" cy="112156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60.884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 9,40 %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 0,26 kr. </a:t>
            </a:r>
          </a:p>
        </p:txBody>
      </p:sp>
      <p:sp>
        <p:nvSpPr>
          <p:cNvPr id="35" name="Tekstfelt 15">
            <a:extLst>
              <a:ext uri="{FF2B5EF4-FFF2-40B4-BE49-F238E27FC236}">
                <a16:creationId xmlns:a16="http://schemas.microsoft.com/office/drawing/2014/main" id="{B6506368-5976-983C-1952-F4747020BF4B}"/>
              </a:ext>
            </a:extLst>
          </p:cNvPr>
          <p:cNvSpPr txBox="1"/>
          <p:nvPr/>
        </p:nvSpPr>
        <p:spPr>
          <a:xfrm>
            <a:off x="10088685" y="4559457"/>
            <a:ext cx="1585058" cy="111744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276.317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8,38 %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0,23 kr.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Pil: pentagon 417">
            <a:extLst>
              <a:ext uri="{FF2B5EF4-FFF2-40B4-BE49-F238E27FC236}">
                <a16:creationId xmlns:a16="http://schemas.microsoft.com/office/drawing/2014/main" id="{4CF9D33B-C3E9-0A9D-3015-A9CDC2DA48C6}"/>
              </a:ext>
            </a:extLst>
          </p:cNvPr>
          <p:cNvSpPr/>
          <p:nvPr/>
        </p:nvSpPr>
        <p:spPr>
          <a:xfrm>
            <a:off x="650674" y="6249521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TIL MÆGLER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Danbolig Silkeborg”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sp>
        <p:nvSpPr>
          <p:cNvPr id="30" name="Tekstfelt 15">
            <a:extLst>
              <a:ext uri="{FF2B5EF4-FFF2-40B4-BE49-F238E27FC236}">
                <a16:creationId xmlns:a16="http://schemas.microsoft.com/office/drawing/2014/main" id="{D29BECDB-2C6A-5D96-0C6B-803BC68FCA5C}"/>
              </a:ext>
            </a:extLst>
          </p:cNvPr>
          <p:cNvSpPr txBox="1"/>
          <p:nvPr/>
        </p:nvSpPr>
        <p:spPr>
          <a:xfrm>
            <a:off x="4159352" y="6253646"/>
            <a:ext cx="3235525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t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2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Opstart: 25.1 </a:t>
            </a:r>
          </a:p>
        </p:txBody>
      </p:sp>
      <p:sp>
        <p:nvSpPr>
          <p:cNvPr id="31" name="Tekstfelt 15">
            <a:extLst>
              <a:ext uri="{FF2B5EF4-FFF2-40B4-BE49-F238E27FC236}">
                <a16:creationId xmlns:a16="http://schemas.microsoft.com/office/drawing/2014/main" id="{BE995B04-B406-1B6C-7DE1-19FEB07D2BAC}"/>
              </a:ext>
            </a:extLst>
          </p:cNvPr>
          <p:cNvSpPr txBox="1"/>
          <p:nvPr/>
        </p:nvSpPr>
        <p:spPr>
          <a:xfrm>
            <a:off x="7658371" y="6251583"/>
            <a:ext cx="2344894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 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 </a:t>
            </a:r>
          </a:p>
        </p:txBody>
      </p:sp>
      <p:sp>
        <p:nvSpPr>
          <p:cNvPr id="32" name="Tekstfelt 15">
            <a:extLst>
              <a:ext uri="{FF2B5EF4-FFF2-40B4-BE49-F238E27FC236}">
                <a16:creationId xmlns:a16="http://schemas.microsoft.com/office/drawing/2014/main" id="{5F841883-4359-F256-9CFB-8AF6480A982E}"/>
              </a:ext>
            </a:extLst>
          </p:cNvPr>
          <p:cNvSpPr txBox="1"/>
          <p:nvPr/>
        </p:nvSpPr>
        <p:spPr>
          <a:xfrm>
            <a:off x="10088685" y="6251583"/>
            <a:ext cx="1585058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12,44 %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0,19 kr. 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6" name="Pil: pentagon 417">
            <a:extLst>
              <a:ext uri="{FF2B5EF4-FFF2-40B4-BE49-F238E27FC236}">
                <a16:creationId xmlns:a16="http://schemas.microsoft.com/office/drawing/2014/main" id="{0393B889-33DD-B1EB-CAF1-7E2FD47147EC}"/>
              </a:ext>
            </a:extLst>
          </p:cNvPr>
          <p:cNvSpPr/>
          <p:nvPr/>
        </p:nvSpPr>
        <p:spPr>
          <a:xfrm>
            <a:off x="635532" y="7527132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TIL MÆGLER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Danbolig Nordvest”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sp>
        <p:nvSpPr>
          <p:cNvPr id="37" name="Heptagon 36">
            <a:extLst>
              <a:ext uri="{FF2B5EF4-FFF2-40B4-BE49-F238E27FC236}">
                <a16:creationId xmlns:a16="http://schemas.microsoft.com/office/drawing/2014/main" id="{6587E02C-175F-5F68-F1A5-018170411FA8}"/>
              </a:ext>
            </a:extLst>
          </p:cNvPr>
          <p:cNvSpPr/>
          <p:nvPr/>
        </p:nvSpPr>
        <p:spPr>
          <a:xfrm rot="573780">
            <a:off x="43673" y="6043308"/>
            <a:ext cx="791186" cy="591940"/>
          </a:xfrm>
          <a:prstGeom prst="heptagon">
            <a:avLst/>
          </a:prstGeom>
          <a:solidFill>
            <a:srgbClr val="FFC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38" name="Tekstfelt 15">
            <a:extLst>
              <a:ext uri="{FF2B5EF4-FFF2-40B4-BE49-F238E27FC236}">
                <a16:creationId xmlns:a16="http://schemas.microsoft.com/office/drawing/2014/main" id="{45D95FA1-C671-23D5-76E6-20C5C74652B5}"/>
              </a:ext>
            </a:extLst>
          </p:cNvPr>
          <p:cNvSpPr txBox="1"/>
          <p:nvPr/>
        </p:nvSpPr>
        <p:spPr>
          <a:xfrm>
            <a:off x="4144210" y="7531257"/>
            <a:ext cx="3235525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t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2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Opstart: 27.1  </a:t>
            </a:r>
          </a:p>
        </p:txBody>
      </p:sp>
      <p:sp>
        <p:nvSpPr>
          <p:cNvPr id="39" name="Tekstfelt 15">
            <a:extLst>
              <a:ext uri="{FF2B5EF4-FFF2-40B4-BE49-F238E27FC236}">
                <a16:creationId xmlns:a16="http://schemas.microsoft.com/office/drawing/2014/main" id="{182777B6-1AFE-16D8-EB92-254D85986E8A}"/>
              </a:ext>
            </a:extLst>
          </p:cNvPr>
          <p:cNvSpPr txBox="1"/>
          <p:nvPr/>
        </p:nvSpPr>
        <p:spPr>
          <a:xfrm>
            <a:off x="7643229" y="7529194"/>
            <a:ext cx="2344894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</a:t>
            </a:r>
          </a:p>
        </p:txBody>
      </p:sp>
      <p:sp>
        <p:nvSpPr>
          <p:cNvPr id="40" name="Tekstfelt 15">
            <a:extLst>
              <a:ext uri="{FF2B5EF4-FFF2-40B4-BE49-F238E27FC236}">
                <a16:creationId xmlns:a16="http://schemas.microsoft.com/office/drawing/2014/main" id="{FBE03593-06BF-26DA-A1DA-F1ABFB55A7A5}"/>
              </a:ext>
            </a:extLst>
          </p:cNvPr>
          <p:cNvSpPr txBox="1"/>
          <p:nvPr/>
        </p:nvSpPr>
        <p:spPr>
          <a:xfrm>
            <a:off x="10073543" y="7529194"/>
            <a:ext cx="1585058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23,38 %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0,12 kr. 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Heptagon 2">
            <a:extLst>
              <a:ext uri="{FF2B5EF4-FFF2-40B4-BE49-F238E27FC236}">
                <a16:creationId xmlns:a16="http://schemas.microsoft.com/office/drawing/2014/main" id="{7D34CBBC-6EA1-D8AE-09C8-BE1904F1960B}"/>
              </a:ext>
            </a:extLst>
          </p:cNvPr>
          <p:cNvSpPr/>
          <p:nvPr/>
        </p:nvSpPr>
        <p:spPr>
          <a:xfrm rot="573780">
            <a:off x="58815" y="7338708"/>
            <a:ext cx="791186" cy="591940"/>
          </a:xfrm>
          <a:prstGeom prst="heptagon">
            <a:avLst/>
          </a:prstGeom>
          <a:solidFill>
            <a:srgbClr val="FFC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42" name="Pil: pentagon 417">
            <a:extLst>
              <a:ext uri="{FF2B5EF4-FFF2-40B4-BE49-F238E27FC236}">
                <a16:creationId xmlns:a16="http://schemas.microsoft.com/office/drawing/2014/main" id="{2D772591-26EA-90C6-2C6C-3DBD6A0229E7}"/>
              </a:ext>
            </a:extLst>
          </p:cNvPr>
          <p:cNvSpPr/>
          <p:nvPr/>
        </p:nvSpPr>
        <p:spPr>
          <a:xfrm>
            <a:off x="620390" y="8746332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bg2">
              <a:lumMod val="50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TEST GENEREL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”Region Hovedstaden”</a:t>
            </a:r>
          </a:p>
          <a:p>
            <a:pPr algn="ctr" defTabSz="1371600">
              <a:defRPr/>
            </a:pPr>
            <a:r>
              <a:rPr lang="da-DK" sz="1500" b="1" dirty="0">
                <a:solidFill>
                  <a:srgbClr val="FFFFFF"/>
                </a:solidFill>
                <a:latin typeface="Arial"/>
              </a:rPr>
              <a:t>Facebook &amp; Instagram katalog </a:t>
            </a:r>
            <a:br>
              <a:rPr lang="da-DK" sz="1500" b="1" dirty="0">
                <a:solidFill>
                  <a:srgbClr val="FFFFFF"/>
                </a:solidFill>
                <a:latin typeface="Arial"/>
              </a:rPr>
            </a:br>
            <a:r>
              <a:rPr lang="da-DK" sz="1500" dirty="0">
                <a:solidFill>
                  <a:srgbClr val="FFFFFF"/>
                </a:solidFill>
                <a:latin typeface="Arial"/>
              </a:rPr>
              <a:t>(via karrusel med op til 11 boliger)</a:t>
            </a:r>
          </a:p>
        </p:txBody>
      </p:sp>
      <p:sp>
        <p:nvSpPr>
          <p:cNvPr id="43" name="Tekstfelt 15">
            <a:extLst>
              <a:ext uri="{FF2B5EF4-FFF2-40B4-BE49-F238E27FC236}">
                <a16:creationId xmlns:a16="http://schemas.microsoft.com/office/drawing/2014/main" id="{781DC299-5DF6-CE6E-10CF-4545BD8F0514}"/>
              </a:ext>
            </a:extLst>
          </p:cNvPr>
          <p:cNvSpPr txBox="1"/>
          <p:nvPr/>
        </p:nvSpPr>
        <p:spPr>
          <a:xfrm>
            <a:off x="4129068" y="8750457"/>
            <a:ext cx="3235525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t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2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200" dirty="0">
                <a:solidFill>
                  <a:srgbClr val="FFFFFF"/>
                </a:solidFill>
                <a:latin typeface="Arial"/>
              </a:rPr>
              <a:t>Opstart: 27.1  </a:t>
            </a:r>
          </a:p>
        </p:txBody>
      </p:sp>
      <p:sp>
        <p:nvSpPr>
          <p:cNvPr id="44" name="Tekstfelt 15">
            <a:extLst>
              <a:ext uri="{FF2B5EF4-FFF2-40B4-BE49-F238E27FC236}">
                <a16:creationId xmlns:a16="http://schemas.microsoft.com/office/drawing/2014/main" id="{5F6AC490-970D-20B0-CC04-BA947957107E}"/>
              </a:ext>
            </a:extLst>
          </p:cNvPr>
          <p:cNvSpPr txBox="1"/>
          <p:nvPr/>
        </p:nvSpPr>
        <p:spPr>
          <a:xfrm>
            <a:off x="7628087" y="8748394"/>
            <a:ext cx="2344894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Eksponering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 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Reach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afvent </a:t>
            </a:r>
          </a:p>
        </p:txBody>
      </p:sp>
      <p:sp>
        <p:nvSpPr>
          <p:cNvPr id="45" name="Tekstfelt 15">
            <a:extLst>
              <a:ext uri="{FF2B5EF4-FFF2-40B4-BE49-F238E27FC236}">
                <a16:creationId xmlns:a16="http://schemas.microsoft.com/office/drawing/2014/main" id="{60CC64BF-532B-1E63-4A9B-769E4DB93859}"/>
              </a:ext>
            </a:extLst>
          </p:cNvPr>
          <p:cNvSpPr txBox="1"/>
          <p:nvPr/>
        </p:nvSpPr>
        <p:spPr>
          <a:xfrm>
            <a:off x="10058401" y="8748394"/>
            <a:ext cx="1585058" cy="1117443"/>
          </a:xfrm>
          <a:prstGeom prst="rect">
            <a:avLst/>
          </a:prstGeom>
          <a:solidFill>
            <a:schemeClr val="bg2">
              <a:lumMod val="5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Kliks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TR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16,75 %</a:t>
            </a: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CPC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: 0,14 kr.  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Heptagon 45">
            <a:extLst>
              <a:ext uri="{FF2B5EF4-FFF2-40B4-BE49-F238E27FC236}">
                <a16:creationId xmlns:a16="http://schemas.microsoft.com/office/drawing/2014/main" id="{351131DD-54C1-B3CC-235B-F725489CF60D}"/>
              </a:ext>
            </a:extLst>
          </p:cNvPr>
          <p:cNvSpPr/>
          <p:nvPr/>
        </p:nvSpPr>
        <p:spPr>
          <a:xfrm rot="573780">
            <a:off x="43673" y="8557908"/>
            <a:ext cx="791186" cy="591940"/>
          </a:xfrm>
          <a:prstGeom prst="heptagon">
            <a:avLst/>
          </a:prstGeom>
          <a:solidFill>
            <a:srgbClr val="FFC00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200" b="1" dirty="0">
                <a:solidFill>
                  <a:schemeClr val="bg1"/>
                </a:solidFill>
              </a:rPr>
              <a:t>TEST</a:t>
            </a:r>
          </a:p>
        </p:txBody>
      </p:sp>
      <p:sp>
        <p:nvSpPr>
          <p:cNvPr id="12" name="Rektangel 7">
            <a:extLst>
              <a:ext uri="{FF2B5EF4-FFF2-40B4-BE49-F238E27FC236}">
                <a16:creationId xmlns:a16="http://schemas.microsoft.com/office/drawing/2014/main" id="{2ABFF296-D368-21C7-7C89-29AB398669DF}"/>
              </a:ext>
            </a:extLst>
          </p:cNvPr>
          <p:cNvSpPr/>
          <p:nvPr/>
        </p:nvSpPr>
        <p:spPr>
          <a:xfrm>
            <a:off x="14490358" y="1962956"/>
            <a:ext cx="3569042" cy="4018744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GB" sz="1500" b="1" dirty="0">
              <a:solidFill>
                <a:srgbClr val="002060"/>
              </a:solidFill>
            </a:endParaRPr>
          </a:p>
          <a:p>
            <a:r>
              <a:rPr lang="en-GB" sz="1500" b="1" dirty="0">
                <a:solidFill>
                  <a:srgbClr val="002060"/>
                </a:solidFill>
              </a:rPr>
              <a:t>Nye produkter  </a:t>
            </a:r>
          </a:p>
          <a:p>
            <a:r>
              <a:rPr lang="en-GB" sz="1500" dirty="0">
                <a:solidFill>
                  <a:srgbClr val="002060"/>
                </a:solidFill>
              </a:rPr>
              <a:t>De nuværende produkter kan med justeringer optimeres jf. aktuelle tests nedenfor.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dirty="0">
                <a:solidFill>
                  <a:srgbClr val="002060"/>
                </a:solidFill>
              </a:rPr>
              <a:t>I første omgang udrulles disse optimeringer til nyt SoMe mæglerprodukt.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dirty="0">
                <a:solidFill>
                  <a:srgbClr val="002060"/>
                </a:solidFill>
              </a:rPr>
              <a:t>Herefter udbygges med yderligere forbedringer og nye tiltag med primært focus på flere mælgerpordukter i et enkelt og overskueligt produktkatalog. 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r>
              <a:rPr lang="en-GB" sz="1500" i="1" dirty="0">
                <a:solidFill>
                  <a:srgbClr val="002060"/>
                </a:solidFill>
              </a:rPr>
              <a:t>Bemærk</a:t>
            </a:r>
            <a:r>
              <a:rPr lang="en-GB" sz="1500" dirty="0">
                <a:solidFill>
                  <a:srgbClr val="002060"/>
                </a:solidFill>
              </a:rPr>
              <a:t> test har kørt i forholdsvis kort periode.  </a:t>
            </a:r>
          </a:p>
          <a:p>
            <a:endParaRPr lang="en-GB" sz="1500" dirty="0">
              <a:solidFill>
                <a:srgbClr val="002060"/>
              </a:solidFill>
            </a:endParaRPr>
          </a:p>
          <a:p>
            <a:pPr defTabSz="1371600">
              <a:defRPr/>
            </a:pPr>
            <a:endParaRPr lang="da-DK" sz="2700" dirty="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89CAE6C1-5F39-652F-03BB-49B8837F646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15500"/>
            <a:ext cx="1149034" cy="350455"/>
          </a:xfrm>
          <a:prstGeom prst="rect">
            <a:avLst/>
          </a:prstGeom>
        </p:spPr>
      </p:pic>
      <p:graphicFrame>
        <p:nvGraphicFramePr>
          <p:cNvPr id="602" name="Chart 601">
            <a:extLst>
              <a:ext uri="{FF2B5EF4-FFF2-40B4-BE49-F238E27FC236}">
                <a16:creationId xmlns:a16="http://schemas.microsoft.com/office/drawing/2014/main" id="{12869D94-46AD-A279-D8CB-26940B6C72D8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131030"/>
              </p:ext>
            </p:extLst>
          </p:nvPr>
        </p:nvGraphicFramePr>
        <p:xfrm>
          <a:off x="14317663" y="6770688"/>
          <a:ext cx="2638425" cy="2747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512" name="Straight Connector 511">
            <a:extLst>
              <a:ext uri="{FF2B5EF4-FFF2-40B4-BE49-F238E27FC236}">
                <a16:creationId xmlns:a16="http://schemas.microsoft.com/office/drawing/2014/main" id="{9A6DD23A-4FD0-43BD-2C14-D6706B743A3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15089188" y="6611938"/>
            <a:ext cx="91598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895351D6-D63E-995D-2ABD-84DD6D1FA29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 flipV="1">
            <a:off x="15089188" y="6611938"/>
            <a:ext cx="0" cy="1744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517CBB0D-E85F-26D8-4F6A-C1B9E6D952AA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6005175" y="66119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3" name="Text Placeholder 2">
            <a:extLst>
              <a:ext uri="{FF2B5EF4-FFF2-40B4-BE49-F238E27FC236}">
                <a16:creationId xmlns:a16="http://schemas.microsoft.com/office/drawing/2014/main" id="{81E697BB-BF5A-0B5F-7C55-047821A18B14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5638463" y="9463088"/>
            <a:ext cx="274638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4A3E9C-8311-40E1-A0C4-992DBD7D6D0A}" type="datetime'''''''''''''''''''''''''''''''''''''''''''''''''CT''''''R'''">
              <a:rPr lang="da-DK" altLang="en-US" sz="1000" smtClean="0">
                <a:ea typeface="+mn-ea"/>
                <a:cs typeface="+mn-cs"/>
              </a:rPr>
              <a:pPr/>
              <a:t>CTR</a:t>
            </a:fld>
            <a:endParaRPr lang="da-DK" sz="1000" dirty="0">
              <a:ea typeface="+mn-ea"/>
              <a:cs typeface="+mn-cs"/>
            </a:endParaRPr>
          </a:p>
        </p:txBody>
      </p:sp>
      <p:sp>
        <p:nvSpPr>
          <p:cNvPr id="514" name="Text Placeholder 2">
            <a:extLst>
              <a:ext uri="{FF2B5EF4-FFF2-40B4-BE49-F238E27FC236}">
                <a16:creationId xmlns:a16="http://schemas.microsoft.com/office/drawing/2014/main" id="{D0F343AB-DF7B-ED4C-8A1C-20B26F06796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5319376" y="6534150"/>
            <a:ext cx="454025" cy="15557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907F55-89AF-4365-90D9-AC12E9C64666}" type="datetime'''+''''17''''''''''''''''''''9''''''''''''%'''''''">
              <a:rPr lang="da-DK" altLang="en-US" sz="800" b="1" smtClean="0">
                <a:effectLst/>
                <a:ea typeface="+mn-ea"/>
                <a:cs typeface="+mn-cs"/>
              </a:rPr>
              <a:pPr/>
              <a:t>+179%</a:t>
            </a:fld>
            <a:endParaRPr lang="da-DK" sz="800" b="1" dirty="0">
              <a:ea typeface="+mn-ea"/>
              <a:cs typeface="+mn-cs"/>
            </a:endParaRPr>
          </a:p>
        </p:txBody>
      </p:sp>
      <p:sp>
        <p:nvSpPr>
          <p:cNvPr id="515" name="Rectangle 514">
            <a:extLst>
              <a:ext uri="{FF2B5EF4-FFF2-40B4-BE49-F238E27FC236}">
                <a16:creationId xmlns:a16="http://schemas.microsoft.com/office/drawing/2014/main" id="{8AD30515-4652-E7F0-1340-43D404EE187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16657638" y="6959600"/>
            <a:ext cx="142875" cy="106363"/>
          </a:xfrm>
          <a:prstGeom prst="rect">
            <a:avLst/>
          </a:prstGeom>
          <a:solidFill>
            <a:srgbClr val="364D6E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6" name="Rectangle 515">
            <a:extLst>
              <a:ext uri="{FF2B5EF4-FFF2-40B4-BE49-F238E27FC236}">
                <a16:creationId xmlns:a16="http://schemas.microsoft.com/office/drawing/2014/main" id="{929A70E8-0786-177A-1851-3989C08F26E6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6657638" y="6629400"/>
            <a:ext cx="142875" cy="106363"/>
          </a:xfrm>
          <a:prstGeom prst="rect">
            <a:avLst/>
          </a:prstGeom>
          <a:solidFill>
            <a:srgbClr val="DFE5EF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7" name="Rectangle 516">
            <a:extLst>
              <a:ext uri="{FF2B5EF4-FFF2-40B4-BE49-F238E27FC236}">
                <a16:creationId xmlns:a16="http://schemas.microsoft.com/office/drawing/2014/main" id="{D7176D27-CB34-02F1-BD1E-860C39C36941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6657638" y="6794500"/>
            <a:ext cx="142875" cy="106363"/>
          </a:xfrm>
          <a:prstGeom prst="rect">
            <a:avLst/>
          </a:prstGeom>
          <a:solidFill>
            <a:srgbClr val="6F8DB9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18" name="Rectangle 517">
            <a:extLst>
              <a:ext uri="{FF2B5EF4-FFF2-40B4-BE49-F238E27FC236}">
                <a16:creationId xmlns:a16="http://schemas.microsoft.com/office/drawing/2014/main" id="{25015E1A-4133-5D1D-7F00-B494D78C204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6657638" y="6464300"/>
            <a:ext cx="142875" cy="106363"/>
          </a:xfrm>
          <a:prstGeom prst="rect">
            <a:avLst/>
          </a:prstGeom>
          <a:solidFill>
            <a:srgbClr val="007770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21" name="Text Placeholder 2">
            <a:extLst>
              <a:ext uri="{FF2B5EF4-FFF2-40B4-BE49-F238E27FC236}">
                <a16:creationId xmlns:a16="http://schemas.microsoft.com/office/drawing/2014/main" id="{9ED34BF6-4F1C-AC8D-5C4C-1558D7010100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16851313" y="6964363"/>
            <a:ext cx="1166813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6CA7BE-8F59-4161-8E3B-5A5F8D005FAD}" type="datetime'''F''''B'' K''''a''talo''g H''oveds''ta''de''''''n'''''' '''''">
              <a:rPr lang="da-DK" altLang="en-US" sz="800" smtClean="0">
                <a:ea typeface="+mn-ea"/>
                <a:cs typeface="+mn-cs"/>
              </a:rPr>
              <a:pPr/>
              <a:t>FB Katalog Hovedstaden </a:t>
            </a:fld>
            <a:endParaRPr lang="da-DK" sz="800" dirty="0">
              <a:ea typeface="+mn-ea"/>
              <a:cs typeface="+mn-cs"/>
            </a:endParaRPr>
          </a:p>
        </p:txBody>
      </p:sp>
      <p:sp>
        <p:nvSpPr>
          <p:cNvPr id="519" name="Text Placeholder 2">
            <a:extLst>
              <a:ext uri="{FF2B5EF4-FFF2-40B4-BE49-F238E27FC236}">
                <a16:creationId xmlns:a16="http://schemas.microsoft.com/office/drawing/2014/main" id="{47CA3E44-3572-E85F-CFB6-A0DD54B0ECF2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6851313" y="6634163"/>
            <a:ext cx="960438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923AE33-B5FC-47A5-8814-4A992DB5D24F}" type="datetime'F''''B Kata''log'''''''' ''''S''i''''''l''ke''''''''bor''g'">
              <a:rPr lang="da-DK" altLang="en-US" sz="800" smtClean="0">
                <a:ea typeface="+mn-ea"/>
                <a:cs typeface="+mn-cs"/>
              </a:rPr>
              <a:pPr/>
              <a:t>FB Katalog Silkeborg</a:t>
            </a:fld>
            <a:endParaRPr lang="da-DK" sz="800" dirty="0">
              <a:ea typeface="+mn-ea"/>
              <a:cs typeface="+mn-cs"/>
            </a:endParaRPr>
          </a:p>
        </p:txBody>
      </p:sp>
      <p:sp>
        <p:nvSpPr>
          <p:cNvPr id="520" name="Text Placeholder 2">
            <a:extLst>
              <a:ext uri="{FF2B5EF4-FFF2-40B4-BE49-F238E27FC236}">
                <a16:creationId xmlns:a16="http://schemas.microsoft.com/office/drawing/2014/main" id="{1DF79AEE-3110-7288-6C86-3D73D8A3CD28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16851313" y="6799263"/>
            <a:ext cx="94297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7E3C39F-2C62-4F43-8376-4A1347E68F72}" type="datetime'F''''B'''''''''' Kata''l''o''''''g ''N''o''r''''d''''v''est'''">
              <a:rPr lang="da-DK" altLang="en-US" sz="800" smtClean="0">
                <a:ea typeface="+mn-ea"/>
                <a:cs typeface="+mn-cs"/>
              </a:rPr>
              <a:pPr/>
              <a:t>FB Katalog Nordvest</a:t>
            </a:fld>
            <a:endParaRPr lang="da-DK" sz="800" dirty="0">
              <a:ea typeface="+mn-ea"/>
              <a:cs typeface="+mn-cs"/>
            </a:endParaRPr>
          </a:p>
        </p:txBody>
      </p:sp>
      <p:sp>
        <p:nvSpPr>
          <p:cNvPr id="522" name="Text Placeholder 2">
            <a:extLst>
              <a:ext uri="{FF2B5EF4-FFF2-40B4-BE49-F238E27FC236}">
                <a16:creationId xmlns:a16="http://schemas.microsoft.com/office/drawing/2014/main" id="{AC8C8D64-20D9-6948-56B8-A96BB5391D52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16851313" y="6469063"/>
            <a:ext cx="847725" cy="109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514350" indent="-514350" algn="l" defTabSz="1371566" rtl="0" eaLnBrk="1" latinLnBrk="0" hangingPunct="1">
              <a:lnSpc>
                <a:spcPct val="90000"/>
              </a:lnSpc>
              <a:spcBef>
                <a:spcPts val="1500"/>
              </a:spcBef>
              <a:buFont typeface="Arial" panose="020B0604020202020204" pitchFamily="34" charset="0"/>
              <a:buChar char="•"/>
              <a:defRPr sz="270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102867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b="0" kern="1200" baseline="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714457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2400240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3086024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2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  <a:lvl6pPr marL="3771806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457589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143371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829155" indent="-342891" algn="l" defTabSz="1371566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800">
                <a:ea typeface="+mn-ea"/>
                <a:cs typeface="+mn-cs"/>
              </a:rPr>
              <a:t>Boliga </a:t>
            </a:r>
            <a:fld id="{173DB2B7-8D1F-4353-9896-B225313F94B1}" type="datetime'F''B'' Ka''''t''''''''a''''''l''''o''''''''''''''g'''' '''''''">
              <a:rPr lang="da-DK" altLang="en-US" sz="800" smtClean="0">
                <a:ea typeface="+mn-ea"/>
                <a:cs typeface="+mn-cs"/>
              </a:rPr>
              <a:pPr/>
              <a:t>FB Katalog </a:t>
            </a:fld>
            <a:endParaRPr lang="da-DK" sz="800" dirty="0">
              <a:ea typeface="+mn-ea"/>
              <a:cs typeface="+mn-cs"/>
            </a:endParaRPr>
          </a:p>
        </p:txBody>
      </p:sp>
      <p:sp>
        <p:nvSpPr>
          <p:cNvPr id="603" name="Right Brace 602">
            <a:extLst>
              <a:ext uri="{FF2B5EF4-FFF2-40B4-BE49-F238E27FC236}">
                <a16:creationId xmlns:a16="http://schemas.microsoft.com/office/drawing/2014/main" id="{D00D3437-A3C5-D067-163F-4355906B5683}"/>
              </a:ext>
            </a:extLst>
          </p:cNvPr>
          <p:cNvSpPr/>
          <p:nvPr/>
        </p:nvSpPr>
        <p:spPr>
          <a:xfrm>
            <a:off x="14087829" y="5981700"/>
            <a:ext cx="237771" cy="4190995"/>
          </a:xfrm>
          <a:prstGeom prst="rightBrace">
            <a:avLst/>
          </a:prstGeom>
          <a:ln w="15875" cmpd="sng">
            <a:solidFill>
              <a:schemeClr val="accent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08" name="Tekstfelt 15">
            <a:extLst>
              <a:ext uri="{FF2B5EF4-FFF2-40B4-BE49-F238E27FC236}">
                <a16:creationId xmlns:a16="http://schemas.microsoft.com/office/drawing/2014/main" id="{099CC1F7-5162-952C-63B2-5B4344A420F9}"/>
              </a:ext>
            </a:extLst>
          </p:cNvPr>
          <p:cNvSpPr txBox="1"/>
          <p:nvPr/>
        </p:nvSpPr>
        <p:spPr>
          <a:xfrm>
            <a:off x="11958715" y="2019300"/>
            <a:ext cx="1962071" cy="110704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b="1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Lav performance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 og giver pt. </a:t>
            </a:r>
            <a:br>
              <a:rPr lang="da-DK" sz="1400" dirty="0">
                <a:solidFill>
                  <a:srgbClr val="FFFFFF"/>
                </a:solidFill>
                <a:latin typeface="Arial"/>
              </a:rPr>
            </a:br>
            <a:r>
              <a:rPr lang="da-DK" sz="1400" dirty="0">
                <a:solidFill>
                  <a:srgbClr val="FFFFFF"/>
                </a:solidFill>
                <a:latin typeface="Arial"/>
              </a:rPr>
              <a:t>underskud.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09" name="Oval 608">
            <a:extLst>
              <a:ext uri="{FF2B5EF4-FFF2-40B4-BE49-F238E27FC236}">
                <a16:creationId xmlns:a16="http://schemas.microsoft.com/office/drawing/2014/main" id="{91422D39-105F-1A61-404F-2C5091591F83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13411200" y="2616200"/>
            <a:ext cx="381000" cy="381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0" name="Arc 609">
            <a:extLst>
              <a:ext uri="{FF2B5EF4-FFF2-40B4-BE49-F238E27FC236}">
                <a16:creationId xmlns:a16="http://schemas.microsoft.com/office/drawing/2014/main" id="{9F0E0066-307B-C228-B665-413BC0599963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13411201" y="2616200"/>
            <a:ext cx="380996" cy="3810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0077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2" name="Tekstfelt 15">
            <a:extLst>
              <a:ext uri="{FF2B5EF4-FFF2-40B4-BE49-F238E27FC236}">
                <a16:creationId xmlns:a16="http://schemas.microsoft.com/office/drawing/2014/main" id="{11F7987F-366A-9D73-F46F-A58C4130910E}"/>
              </a:ext>
            </a:extLst>
          </p:cNvPr>
          <p:cNvSpPr txBox="1"/>
          <p:nvPr/>
        </p:nvSpPr>
        <p:spPr>
          <a:xfrm>
            <a:off x="11958637" y="3271838"/>
            <a:ext cx="1962150" cy="11064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God performance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 men manuel opsætning.</a:t>
            </a:r>
          </a:p>
        </p:txBody>
      </p:sp>
      <p:sp>
        <p:nvSpPr>
          <p:cNvPr id="613" name="Oval 612">
            <a:extLst>
              <a:ext uri="{FF2B5EF4-FFF2-40B4-BE49-F238E27FC236}">
                <a16:creationId xmlns:a16="http://schemas.microsoft.com/office/drawing/2014/main" id="{BDBC9666-F519-2CD3-1CAD-F46796588580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3411200" y="3843338"/>
            <a:ext cx="381000" cy="381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4" name="Arc 613">
            <a:extLst>
              <a:ext uri="{FF2B5EF4-FFF2-40B4-BE49-F238E27FC236}">
                <a16:creationId xmlns:a16="http://schemas.microsoft.com/office/drawing/2014/main" id="{5F0653CB-4029-D753-38DA-99B309630FDF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13411201" y="3843338"/>
            <a:ext cx="380996" cy="381000"/>
          </a:xfrm>
          <a:prstGeom prst="arc">
            <a:avLst>
              <a:gd name="adj1" fmla="val 16200000"/>
              <a:gd name="adj2" fmla="val 8100000"/>
            </a:avLst>
          </a:prstGeom>
          <a:solidFill>
            <a:srgbClr val="0077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5" name="Tekstfelt 15">
            <a:extLst>
              <a:ext uri="{FF2B5EF4-FFF2-40B4-BE49-F238E27FC236}">
                <a16:creationId xmlns:a16="http://schemas.microsoft.com/office/drawing/2014/main" id="{3E1934F2-2544-4763-28CD-8A742A80D91D}"/>
              </a:ext>
            </a:extLst>
          </p:cNvPr>
          <p:cNvSpPr txBox="1"/>
          <p:nvPr/>
        </p:nvSpPr>
        <p:spPr>
          <a:xfrm>
            <a:off x="11958638" y="4559300"/>
            <a:ext cx="1962150" cy="11064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  <a:p>
            <a:pPr defTabSz="1371600" fontAlgn="ctr">
              <a:spcAft>
                <a:spcPts val="900"/>
              </a:spcAft>
              <a:defRPr/>
            </a:pPr>
            <a:r>
              <a:rPr lang="da-DK" sz="1400" b="1" dirty="0">
                <a:solidFill>
                  <a:srgbClr val="FFFFFF"/>
                </a:solidFill>
                <a:latin typeface="Arial"/>
              </a:rPr>
              <a:t>God performance</a:t>
            </a:r>
            <a:r>
              <a:rPr lang="da-DK" sz="1400" dirty="0">
                <a:solidFill>
                  <a:srgbClr val="FFFFFF"/>
                </a:solidFill>
                <a:latin typeface="Arial"/>
              </a:rPr>
              <a:t> men egen </a:t>
            </a:r>
            <a:br>
              <a:rPr lang="da-DK" sz="1400" dirty="0">
                <a:solidFill>
                  <a:srgbClr val="FFFFFF"/>
                </a:solidFill>
                <a:latin typeface="Arial"/>
              </a:rPr>
            </a:br>
            <a:r>
              <a:rPr lang="da-DK" sz="1400" dirty="0">
                <a:solidFill>
                  <a:srgbClr val="FFFFFF"/>
                </a:solidFill>
                <a:latin typeface="Arial"/>
              </a:rPr>
              <a:t>betaling.</a:t>
            </a:r>
          </a:p>
          <a:p>
            <a:pPr defTabSz="1371600" fontAlgn="ctr">
              <a:spcAft>
                <a:spcPts val="900"/>
              </a:spcAft>
              <a:defRPr/>
            </a:pPr>
            <a:endParaRPr lang="da-DK" sz="1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616" name="Oval 615">
            <a:extLst>
              <a:ext uri="{FF2B5EF4-FFF2-40B4-BE49-F238E27FC236}">
                <a16:creationId xmlns:a16="http://schemas.microsoft.com/office/drawing/2014/main" id="{D7B12B94-938C-10C4-4C5C-29C3017A48E0}"/>
              </a:ext>
            </a:extLst>
          </p:cNvPr>
          <p:cNvSpPr/>
          <p:nvPr>
            <p:custDataLst>
              <p:tags r:id="rId20"/>
            </p:custDataLst>
          </p:nvPr>
        </p:nvSpPr>
        <p:spPr bwMode="auto">
          <a:xfrm>
            <a:off x="13411200" y="5116513"/>
            <a:ext cx="381000" cy="381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17" name="Arc 616">
            <a:extLst>
              <a:ext uri="{FF2B5EF4-FFF2-40B4-BE49-F238E27FC236}">
                <a16:creationId xmlns:a16="http://schemas.microsoft.com/office/drawing/2014/main" id="{E01C3609-FA2C-6F3D-F656-22A4859EDBB2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13411201" y="5116513"/>
            <a:ext cx="380996" cy="3810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00777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20" name="Tekstfelt 26">
            <a:extLst>
              <a:ext uri="{FF2B5EF4-FFF2-40B4-BE49-F238E27FC236}">
                <a16:creationId xmlns:a16="http://schemas.microsoft.com/office/drawing/2014/main" id="{6B725F42-D238-6A7E-CBF2-59224069953A}"/>
              </a:ext>
            </a:extLst>
          </p:cNvPr>
          <p:cNvSpPr txBox="1"/>
          <p:nvPr/>
        </p:nvSpPr>
        <p:spPr>
          <a:xfrm>
            <a:off x="11963400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Score</a:t>
            </a:r>
          </a:p>
        </p:txBody>
      </p:sp>
      <p:sp>
        <p:nvSpPr>
          <p:cNvPr id="621" name="Tekstfelt 26">
            <a:extLst>
              <a:ext uri="{FF2B5EF4-FFF2-40B4-BE49-F238E27FC236}">
                <a16:creationId xmlns:a16="http://schemas.microsoft.com/office/drawing/2014/main" id="{C3ACF2E2-64E7-00B8-DCAC-ABF5C26C99EC}"/>
              </a:ext>
            </a:extLst>
          </p:cNvPr>
          <p:cNvSpPr txBox="1"/>
          <p:nvPr/>
        </p:nvSpPr>
        <p:spPr>
          <a:xfrm>
            <a:off x="7620000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defTabSz="1371600">
              <a:defRPr/>
            </a:pPr>
            <a:r>
              <a:rPr lang="da-DK" sz="1800" dirty="0"/>
              <a:t>Performance</a:t>
            </a:r>
          </a:p>
        </p:txBody>
      </p:sp>
    </p:spTree>
    <p:extLst>
      <p:ext uri="{BB962C8B-B14F-4D97-AF65-F5344CB8AC3E}">
        <p14:creationId xmlns:p14="http://schemas.microsoft.com/office/powerpoint/2010/main" val="51330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00100"/>
            <a:ext cx="12088945" cy="8210550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Indledende betragtning om samarbejdet mellem DBA og Boliga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cxnSp>
        <p:nvCxnSpPr>
          <p:cNvPr id="568" name="Lige forbindelse 567">
            <a:extLst>
              <a:ext uri="{FF2B5EF4-FFF2-40B4-BE49-F238E27FC236}">
                <a16:creationId xmlns:a16="http://schemas.microsoft.com/office/drawing/2014/main" id="{8BCAA022-2AB2-4A84-A283-EF912E881EAC}"/>
              </a:ext>
            </a:extLst>
          </p:cNvPr>
          <p:cNvCxnSpPr>
            <a:cxnSpLocks/>
          </p:cNvCxnSpPr>
          <p:nvPr/>
        </p:nvCxnSpPr>
        <p:spPr>
          <a:xfrm>
            <a:off x="1366838" y="52197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DBA samarbejde </a:t>
            </a:r>
            <a:endParaRPr lang="da-DK" sz="8100" dirty="0"/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6042D5D7-66D7-BF00-8AC9-30A38DF73DBB}"/>
              </a:ext>
            </a:extLst>
          </p:cNvPr>
          <p:cNvSpPr/>
          <p:nvPr/>
        </p:nvSpPr>
        <p:spPr>
          <a:xfrm>
            <a:off x="1565075" y="1868341"/>
            <a:ext cx="3235525" cy="1121568"/>
          </a:xfrm>
          <a:prstGeom prst="homePlate">
            <a:avLst>
              <a:gd name="adj" fmla="val 7865"/>
            </a:avLst>
          </a:prstGeom>
          <a:solidFill>
            <a:schemeClr val="accent2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og Boliga</a:t>
            </a: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ik til boliga.dk  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3" name="Lige forbindelse 567">
            <a:extLst>
              <a:ext uri="{FF2B5EF4-FFF2-40B4-BE49-F238E27FC236}">
                <a16:creationId xmlns:a16="http://schemas.microsoft.com/office/drawing/2014/main" id="{0C3EBE4A-7EAD-A1D4-EBB0-56B7A1CED430}"/>
              </a:ext>
            </a:extLst>
          </p:cNvPr>
          <p:cNvCxnSpPr>
            <a:cxnSpLocks/>
          </p:cNvCxnSpPr>
          <p:nvPr/>
        </p:nvCxnSpPr>
        <p:spPr>
          <a:xfrm>
            <a:off x="1337629" y="36957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sp>
        <p:nvSpPr>
          <p:cNvPr id="22" name="Tekstfelt 15">
            <a:extLst>
              <a:ext uri="{FF2B5EF4-FFF2-40B4-BE49-F238E27FC236}">
                <a16:creationId xmlns:a16="http://schemas.microsoft.com/office/drawing/2014/main" id="{BA258737-BCE5-BB4E-C0E2-45D1E537808F}"/>
              </a:ext>
            </a:extLst>
          </p:cNvPr>
          <p:cNvSpPr txBox="1"/>
          <p:nvPr/>
        </p:nvSpPr>
        <p:spPr>
          <a:xfrm>
            <a:off x="5334000" y="1866900"/>
            <a:ext cx="7848600" cy="160778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da-DK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ikaftale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er til salg på boliga.dk udstilles på dba.dk under ”Boliger” med henblik på at skaffe trafik til boliga.dk. Boliga betaler 0,10 kr. pr. klik fra dba.dk til boliga.dk.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kan kun sælge placeringen til en udbyder og dermed får Boliga en slags eksklusivitet på placeringen (i forhold til f.eks. Boligsiden).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</a:t>
            </a:r>
          </a:p>
        </p:txBody>
      </p:sp>
      <p:sp>
        <p:nvSpPr>
          <p:cNvPr id="25" name="Tekstfelt 15">
            <a:extLst>
              <a:ext uri="{FF2B5EF4-FFF2-40B4-BE49-F238E27FC236}">
                <a16:creationId xmlns:a16="http://schemas.microsoft.com/office/drawing/2014/main" id="{55566CD1-5D96-5650-89E6-D7D3A8933DCB}"/>
              </a:ext>
            </a:extLst>
          </p:cNvPr>
          <p:cNvSpPr txBox="1"/>
          <p:nvPr/>
        </p:nvSpPr>
        <p:spPr>
          <a:xfrm>
            <a:off x="5334000" y="3869532"/>
            <a:ext cx="7848600" cy="112156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profilside på DBA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har en profilside, hvor virksomheden præsenteres med logo, topbillede, kontaktoplysninger og åbningstider.  </a:t>
            </a:r>
          </a:p>
        </p:txBody>
      </p:sp>
      <p:sp>
        <p:nvSpPr>
          <p:cNvPr id="30" name="Tekstfelt 15">
            <a:extLst>
              <a:ext uri="{FF2B5EF4-FFF2-40B4-BE49-F238E27FC236}">
                <a16:creationId xmlns:a16="http://schemas.microsoft.com/office/drawing/2014/main" id="{F46BA57A-436C-4E8B-D42D-3CDF85E6BABF}"/>
              </a:ext>
            </a:extLst>
          </p:cNvPr>
          <p:cNvSpPr txBox="1"/>
          <p:nvPr/>
        </p:nvSpPr>
        <p:spPr>
          <a:xfrm>
            <a:off x="5334000" y="5393532"/>
            <a:ext cx="7848600" cy="1121568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ik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a får i gennemsnit 60.000 besøg pr. md. svarende til en månedlig udgift pr. md. på 6.000.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oligsælger betaler ikke for at få denne eksponering af bolig på DBA.</a:t>
            </a:r>
          </a:p>
        </p:txBody>
      </p:sp>
      <p:cxnSp>
        <p:nvCxnSpPr>
          <p:cNvPr id="31" name="Straight Connector 42">
            <a:extLst>
              <a:ext uri="{FF2B5EF4-FFF2-40B4-BE49-F238E27FC236}">
                <a16:creationId xmlns:a16="http://schemas.microsoft.com/office/drawing/2014/main" id="{3760752E-E40A-61AC-3B5B-782B4336590B}"/>
              </a:ext>
            </a:extLst>
          </p:cNvPr>
          <p:cNvCxnSpPr>
            <a:cxnSpLocks/>
          </p:cNvCxnSpPr>
          <p:nvPr/>
        </p:nvCxnSpPr>
        <p:spPr>
          <a:xfrm>
            <a:off x="13668375" y="156210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kstfelt 26">
            <a:extLst>
              <a:ext uri="{FF2B5EF4-FFF2-40B4-BE49-F238E27FC236}">
                <a16:creationId xmlns:a16="http://schemas.microsoft.com/office/drawing/2014/main" id="{60216DC4-8950-91D2-D229-BF35D8CBE3FB}"/>
              </a:ext>
            </a:extLst>
          </p:cNvPr>
          <p:cNvSpPr txBox="1"/>
          <p:nvPr/>
        </p:nvSpPr>
        <p:spPr>
          <a:xfrm>
            <a:off x="13668376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rPr>
              <a:t>Indsigt</a:t>
            </a:r>
          </a:p>
        </p:txBody>
      </p:sp>
      <p:sp>
        <p:nvSpPr>
          <p:cNvPr id="34" name="Rektangel 7">
            <a:extLst>
              <a:ext uri="{FF2B5EF4-FFF2-40B4-BE49-F238E27FC236}">
                <a16:creationId xmlns:a16="http://schemas.microsoft.com/office/drawing/2014/main" id="{1EE8A156-AD82-2681-861F-9C8F1E18C1A4}"/>
              </a:ext>
            </a:extLst>
          </p:cNvPr>
          <p:cNvSpPr/>
          <p:nvPr/>
        </p:nvSpPr>
        <p:spPr>
          <a:xfrm>
            <a:off x="13639800" y="1790699"/>
            <a:ext cx="3886200" cy="7214235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ktur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har pga systemskifte ikke faktureret Boliga I 5 måneder. Dette blev afklareret ultimo december 2022. Boliga fik en “rabat” på 5.000 k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sstign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varsler prisstigni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 er ingen skriftelig aftale.</a:t>
            </a:r>
            <a:b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dford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 praktisk udfordring i samarbejdet er, at der kommer et “foto mangler ikon” på boliger på DBA ud for boliger, hvor vi ikke må vise foto fra bolige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dat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datering af Boliga profilside er sket januar 2023. I en længere periode har siden ikke haft logo og basisinformationer udfyld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700" b="0" i="0" u="none" strike="noStrike" kern="1200" cap="none" spc="0" normalizeH="0" baseline="0" noProof="0" dirty="0">
              <a:ln>
                <a:noFill/>
              </a:ln>
              <a:solidFill>
                <a:srgbClr val="0D2E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5" name="Lige forbindelse 567">
            <a:extLst>
              <a:ext uri="{FF2B5EF4-FFF2-40B4-BE49-F238E27FC236}">
                <a16:creationId xmlns:a16="http://schemas.microsoft.com/office/drawing/2014/main" id="{C66E58DE-BF11-84F1-6DB6-06059090412B}"/>
              </a:ext>
            </a:extLst>
          </p:cNvPr>
          <p:cNvCxnSpPr>
            <a:cxnSpLocks/>
          </p:cNvCxnSpPr>
          <p:nvPr/>
        </p:nvCxnSpPr>
        <p:spPr>
          <a:xfrm>
            <a:off x="1371600" y="6743700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kstfelt 15">
            <a:extLst>
              <a:ext uri="{FF2B5EF4-FFF2-40B4-BE49-F238E27FC236}">
                <a16:creationId xmlns:a16="http://schemas.microsoft.com/office/drawing/2014/main" id="{9396F6C7-DD87-3118-ACEB-0153D843E22C}"/>
              </a:ext>
            </a:extLst>
          </p:cNvPr>
          <p:cNvSpPr txBox="1"/>
          <p:nvPr/>
        </p:nvSpPr>
        <p:spPr>
          <a:xfrm>
            <a:off x="5334000" y="6972299"/>
            <a:ext cx="7848600" cy="1518291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e 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er et kendt brand med stor volumen. Vi kan overveje at sælge placeringer til boligsælgere og mæglere som del af kommende mæglerprodukter. Mange mælgere inkl. de store kæder fokuserer i vid udstrækning på SoMe. Her kan være en mulighed for at tilbyde noget andet på en kendt markedsplads.  </a:t>
            </a:r>
          </a:p>
        </p:txBody>
      </p:sp>
      <p:sp>
        <p:nvSpPr>
          <p:cNvPr id="3" name="Heptagon 2">
            <a:extLst>
              <a:ext uri="{FF2B5EF4-FFF2-40B4-BE49-F238E27FC236}">
                <a16:creationId xmlns:a16="http://schemas.microsoft.com/office/drawing/2014/main" id="{ED05060E-475F-8E4D-E926-C5D8F46849D0}"/>
              </a:ext>
            </a:extLst>
          </p:cNvPr>
          <p:cNvSpPr/>
          <p:nvPr/>
        </p:nvSpPr>
        <p:spPr>
          <a:xfrm rot="573780">
            <a:off x="4651541" y="7004552"/>
            <a:ext cx="791186" cy="591940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YT</a:t>
            </a:r>
          </a:p>
        </p:txBody>
      </p:sp>
    </p:spTree>
    <p:extLst>
      <p:ext uri="{BB962C8B-B14F-4D97-AF65-F5344CB8AC3E}">
        <p14:creationId xmlns:p14="http://schemas.microsoft.com/office/powerpoint/2010/main" val="1667975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00100"/>
            <a:ext cx="12088945" cy="8210550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Case: Kan </a:t>
              </a:r>
              <a:r>
                <a:rPr kumimoji="0" lang="da-DK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Boligas</a:t>
              </a: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 unikke placering på dba.dk indgå i annonceprodukter til boligsælger og mægler?  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DBA i Boliga annonceprodukter  </a:t>
            </a:r>
            <a:endParaRPr lang="da-DK" sz="8100" dirty="0"/>
          </a:p>
        </p:txBody>
      </p:sp>
      <p:sp>
        <p:nvSpPr>
          <p:cNvPr id="17" name="Pil: pentagon 417">
            <a:extLst>
              <a:ext uri="{FF2B5EF4-FFF2-40B4-BE49-F238E27FC236}">
                <a16:creationId xmlns:a16="http://schemas.microsoft.com/office/drawing/2014/main" id="{6042D5D7-66D7-BF00-8AC9-30A38DF73DBB}"/>
              </a:ext>
            </a:extLst>
          </p:cNvPr>
          <p:cNvSpPr/>
          <p:nvPr/>
        </p:nvSpPr>
        <p:spPr>
          <a:xfrm>
            <a:off x="1565075" y="1868340"/>
            <a:ext cx="3235525" cy="2284557"/>
          </a:xfrm>
          <a:prstGeom prst="homePlate">
            <a:avLst>
              <a:gd name="adj" fmla="val 7865"/>
            </a:avLst>
          </a:prstGeom>
          <a:solidFill>
            <a:schemeClr val="accent2"/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og Boliga</a:t>
            </a: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fik + omsætning til Boliga.</a:t>
            </a:r>
            <a:b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da-DK" sz="1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n udgift på 6.000 kr. md. blive til indtægt på xx kr. md. og samtidig øge trafik med x %?</a:t>
            </a:r>
            <a:r>
              <a:rPr kumimoji="0" lang="da-DK" sz="15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  <a:endParaRPr kumimoji="0" lang="da-DK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3" name="Lige forbindelse 567">
            <a:extLst>
              <a:ext uri="{FF2B5EF4-FFF2-40B4-BE49-F238E27FC236}">
                <a16:creationId xmlns:a16="http://schemas.microsoft.com/office/drawing/2014/main" id="{0C3EBE4A-7EAD-A1D4-EBB0-56B7A1CED430}"/>
              </a:ext>
            </a:extLst>
          </p:cNvPr>
          <p:cNvCxnSpPr>
            <a:cxnSpLocks/>
          </p:cNvCxnSpPr>
          <p:nvPr/>
        </p:nvCxnSpPr>
        <p:spPr>
          <a:xfrm>
            <a:off x="1337629" y="4615809"/>
            <a:ext cx="11997371" cy="0"/>
          </a:xfrm>
          <a:prstGeom prst="line">
            <a:avLst/>
          </a:prstGeom>
          <a:ln w="15875" cmpd="sng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cxnSp>
        <p:nvCxnSpPr>
          <p:cNvPr id="31" name="Straight Connector 42">
            <a:extLst>
              <a:ext uri="{FF2B5EF4-FFF2-40B4-BE49-F238E27FC236}">
                <a16:creationId xmlns:a16="http://schemas.microsoft.com/office/drawing/2014/main" id="{3760752E-E40A-61AC-3B5B-782B4336590B}"/>
              </a:ext>
            </a:extLst>
          </p:cNvPr>
          <p:cNvCxnSpPr>
            <a:cxnSpLocks/>
          </p:cNvCxnSpPr>
          <p:nvPr/>
        </p:nvCxnSpPr>
        <p:spPr>
          <a:xfrm>
            <a:off x="13668375" y="156210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kstfelt 26">
            <a:extLst>
              <a:ext uri="{FF2B5EF4-FFF2-40B4-BE49-F238E27FC236}">
                <a16:creationId xmlns:a16="http://schemas.microsoft.com/office/drawing/2014/main" id="{60216DC4-8950-91D2-D229-BF35D8CBE3FB}"/>
              </a:ext>
            </a:extLst>
          </p:cNvPr>
          <p:cNvSpPr txBox="1"/>
          <p:nvPr/>
        </p:nvSpPr>
        <p:spPr>
          <a:xfrm>
            <a:off x="13668376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rPr>
              <a:t>Indsigt</a:t>
            </a:r>
          </a:p>
        </p:txBody>
      </p:sp>
      <p:sp>
        <p:nvSpPr>
          <p:cNvPr id="34" name="Rektangel 7">
            <a:extLst>
              <a:ext uri="{FF2B5EF4-FFF2-40B4-BE49-F238E27FC236}">
                <a16:creationId xmlns:a16="http://schemas.microsoft.com/office/drawing/2014/main" id="{1EE8A156-AD82-2681-861F-9C8F1E18C1A4}"/>
              </a:ext>
            </a:extLst>
          </p:cNvPr>
          <p:cNvSpPr/>
          <p:nvPr/>
        </p:nvSpPr>
        <p:spPr>
          <a:xfrm>
            <a:off x="13639800" y="1790699"/>
            <a:ext cx="3886200" cy="7214235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700" b="0" i="0" u="none" strike="noStrike" kern="1200" cap="none" spc="0" normalizeH="0" baseline="0" noProof="0" dirty="0">
              <a:ln>
                <a:noFill/>
              </a:ln>
              <a:solidFill>
                <a:srgbClr val="0D2E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kstfelt 15">
            <a:extLst>
              <a:ext uri="{FF2B5EF4-FFF2-40B4-BE49-F238E27FC236}">
                <a16:creationId xmlns:a16="http://schemas.microsoft.com/office/drawing/2014/main" id="{9396F6C7-DD87-3118-ACEB-0153D843E22C}"/>
              </a:ext>
            </a:extLst>
          </p:cNvPr>
          <p:cNvSpPr txBox="1"/>
          <p:nvPr/>
        </p:nvSpPr>
        <p:spPr>
          <a:xfrm>
            <a:off x="5334000" y="1896255"/>
            <a:ext cx="7848600" cy="2256641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e 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BA er et kendt brand med stor volumen. Vi kan overveje at sælge placeringer til boligsælgere og mæglere som del af kommende mæglerprodukter. Mange mælgere inkl. de store kæder fokuserer i vid udstrækning på SoMe. Her kan være en mulighed for at tilbyde noget andet på en kendt markedsplads.  </a:t>
            </a:r>
          </a:p>
        </p:txBody>
      </p:sp>
      <p:sp>
        <p:nvSpPr>
          <p:cNvPr id="3" name="Heptagon 2">
            <a:extLst>
              <a:ext uri="{FF2B5EF4-FFF2-40B4-BE49-F238E27FC236}">
                <a16:creationId xmlns:a16="http://schemas.microsoft.com/office/drawing/2014/main" id="{ED05060E-475F-8E4D-E926-C5D8F46849D0}"/>
              </a:ext>
            </a:extLst>
          </p:cNvPr>
          <p:cNvSpPr/>
          <p:nvPr/>
        </p:nvSpPr>
        <p:spPr>
          <a:xfrm rot="573780">
            <a:off x="4651541" y="1928508"/>
            <a:ext cx="791186" cy="591940"/>
          </a:xfrm>
          <a:prstGeom prst="heptagon">
            <a:avLst/>
          </a:prstGeom>
          <a:solidFill>
            <a:srgbClr val="00B050"/>
          </a:solidFill>
          <a:ln w="15875">
            <a:noFill/>
          </a:ln>
          <a:effectLst>
            <a:outerShdw blurRad="127000" dist="508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YT</a:t>
            </a:r>
          </a:p>
        </p:txBody>
      </p:sp>
      <p:sp>
        <p:nvSpPr>
          <p:cNvPr id="14" name="Tekstfelt 15">
            <a:extLst>
              <a:ext uri="{FF2B5EF4-FFF2-40B4-BE49-F238E27FC236}">
                <a16:creationId xmlns:a16="http://schemas.microsoft.com/office/drawing/2014/main" id="{D848B194-1791-ED58-5BB5-D16E2892316C}"/>
              </a:ext>
            </a:extLst>
          </p:cNvPr>
          <p:cNvSpPr txBox="1"/>
          <p:nvPr/>
        </p:nvSpPr>
        <p:spPr>
          <a:xfrm>
            <a:off x="5334000" y="4773918"/>
            <a:ext cx="7848600" cy="1518291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olumen  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ninger DBA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ålgruppe DBA </a:t>
            </a:r>
          </a:p>
        </p:txBody>
      </p:sp>
      <p:sp>
        <p:nvSpPr>
          <p:cNvPr id="16" name="Tekstfelt 15">
            <a:extLst>
              <a:ext uri="{FF2B5EF4-FFF2-40B4-BE49-F238E27FC236}">
                <a16:creationId xmlns:a16="http://schemas.microsoft.com/office/drawing/2014/main" id="{C2A95D1B-E2B4-97CF-CB74-C2C8E65C2444}"/>
              </a:ext>
            </a:extLst>
          </p:cNvPr>
          <p:cNvSpPr txBox="1"/>
          <p:nvPr/>
        </p:nvSpPr>
        <p:spPr>
          <a:xfrm>
            <a:off x="5334000" y="6444609"/>
            <a:ext cx="7848600" cy="1518291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nchmark  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s og performance på SoMe </a:t>
            </a:r>
          </a:p>
          <a:p>
            <a:pPr marL="0" marR="0" lvl="0" indent="0" algn="l" defTabSz="13716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483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4232215-5DA1-4934-AEC7-C45A53F98D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4232215-5DA1-4934-AEC7-C45A53F98D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e 5">
            <a:extLst>
              <a:ext uri="{FF2B5EF4-FFF2-40B4-BE49-F238E27FC236}">
                <a16:creationId xmlns:a16="http://schemas.microsoft.com/office/drawing/2014/main" id="{2B9328E7-DC76-49B9-8B5C-745D9C0944A1}"/>
              </a:ext>
            </a:extLst>
          </p:cNvPr>
          <p:cNvGrpSpPr/>
          <p:nvPr/>
        </p:nvGrpSpPr>
        <p:grpSpPr>
          <a:xfrm>
            <a:off x="1366838" y="800100"/>
            <a:ext cx="12088945" cy="8210550"/>
            <a:chOff x="911225" y="584200"/>
            <a:chExt cx="3699948" cy="5473698"/>
          </a:xfrm>
        </p:grpSpPr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ECD44574-B750-4578-B3B0-F986B50CF915}"/>
                </a:ext>
              </a:extLst>
            </p:cNvPr>
            <p:cNvSpPr/>
            <p:nvPr/>
          </p:nvSpPr>
          <p:spPr>
            <a:xfrm>
              <a:off x="911225" y="1248406"/>
              <a:ext cx="3681413" cy="48094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58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9" name="Straight Connector 42">
              <a:extLst>
                <a:ext uri="{FF2B5EF4-FFF2-40B4-BE49-F238E27FC236}">
                  <a16:creationId xmlns:a16="http://schemas.microsoft.com/office/drawing/2014/main" id="{26F14B1A-84F7-466D-9573-CC8749B6806F}"/>
                </a:ext>
              </a:extLst>
            </p:cNvPr>
            <p:cNvCxnSpPr>
              <a:cxnSpLocks/>
            </p:cNvCxnSpPr>
            <p:nvPr/>
          </p:nvCxnSpPr>
          <p:spPr>
            <a:xfrm>
              <a:off x="914399" y="1092200"/>
              <a:ext cx="3678239" cy="0"/>
            </a:xfrm>
            <a:prstGeom prst="line">
              <a:avLst/>
            </a:prstGeom>
            <a:ln w="9525" cmpd="sng">
              <a:solidFill>
                <a:schemeClr val="tx2"/>
              </a:solidFill>
              <a:prstDash val="solid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kstfelt 26">
              <a:extLst>
                <a:ext uri="{FF2B5EF4-FFF2-40B4-BE49-F238E27FC236}">
                  <a16:creationId xmlns:a16="http://schemas.microsoft.com/office/drawing/2014/main" id="{5256D62B-2254-4A35-A2BC-01AA400F59F8}"/>
                </a:ext>
              </a:extLst>
            </p:cNvPr>
            <p:cNvSpPr txBox="1"/>
            <p:nvPr/>
          </p:nvSpPr>
          <p:spPr>
            <a:xfrm>
              <a:off x="914399" y="584200"/>
              <a:ext cx="3696774" cy="430887"/>
            </a:xfrm>
            <a:prstGeom prst="rect">
              <a:avLst/>
            </a:prstGeom>
            <a:noFill/>
          </p:spPr>
          <p:txBody>
            <a:bodyPr wrap="square" lIns="54000" rIns="54000" rtlCol="0" anchor="t">
              <a:spAutoFit/>
            </a:bodyPr>
            <a:lstStyle/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/>
                  <a:ea typeface="Lato" panose="020F0502020204030203" pitchFamily="34" charset="0"/>
                  <a:cs typeface="Lato" panose="020F0502020204030203" pitchFamily="34" charset="0"/>
                </a:rPr>
                <a:t>Case: DBA volumen og performance </a:t>
              </a:r>
            </a:p>
            <a:p>
              <a:pPr marL="0" marR="0" lvl="0" indent="0" algn="l" defTabSz="1371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endParaRPr>
            </a:p>
          </p:txBody>
        </p:sp>
      </p:grpSp>
      <p:sp>
        <p:nvSpPr>
          <p:cNvPr id="5" name="Titel 2">
            <a:extLst>
              <a:ext uri="{FF2B5EF4-FFF2-40B4-BE49-F238E27FC236}">
                <a16:creationId xmlns:a16="http://schemas.microsoft.com/office/drawing/2014/main" id="{9B88288E-C45D-0CEE-63EF-B034D2EAB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6838" y="-38100"/>
            <a:ext cx="15544800" cy="1226342"/>
          </a:xfrm>
        </p:spPr>
        <p:txBody>
          <a:bodyPr vert="horz"/>
          <a:lstStyle/>
          <a:p>
            <a:pPr algn="l"/>
            <a:r>
              <a:rPr lang="da-DK" sz="4200" dirty="0">
                <a:ea typeface="Calibri" panose="020F0502020204030204" pitchFamily="34" charset="0"/>
                <a:cs typeface="Times New Roman" panose="02020603050405020304" pitchFamily="18" charset="0"/>
              </a:rPr>
              <a:t>DBA i Boliga annonceprodukter  </a:t>
            </a:r>
            <a:endParaRPr lang="da-DK" sz="8100" dirty="0"/>
          </a:p>
        </p:txBody>
      </p: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C202BC0E-640C-9F13-FC3A-8BBBE7E21D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0366" y="9746045"/>
            <a:ext cx="1149034" cy="350455"/>
          </a:xfrm>
          <a:prstGeom prst="rect">
            <a:avLst/>
          </a:prstGeom>
        </p:spPr>
      </p:pic>
      <p:cxnSp>
        <p:nvCxnSpPr>
          <p:cNvPr id="31" name="Straight Connector 42">
            <a:extLst>
              <a:ext uri="{FF2B5EF4-FFF2-40B4-BE49-F238E27FC236}">
                <a16:creationId xmlns:a16="http://schemas.microsoft.com/office/drawing/2014/main" id="{3760752E-E40A-61AC-3B5B-782B4336590B}"/>
              </a:ext>
            </a:extLst>
          </p:cNvPr>
          <p:cNvCxnSpPr>
            <a:cxnSpLocks/>
          </p:cNvCxnSpPr>
          <p:nvPr/>
        </p:nvCxnSpPr>
        <p:spPr>
          <a:xfrm>
            <a:off x="13668375" y="1562100"/>
            <a:ext cx="3248025" cy="0"/>
          </a:xfrm>
          <a:prstGeom prst="line">
            <a:avLst/>
          </a:prstGeom>
          <a:ln w="9525" cmpd="sng">
            <a:solidFill>
              <a:schemeClr val="tx2"/>
            </a:solidFill>
            <a:prstDash val="solid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Tekstfelt 26">
            <a:extLst>
              <a:ext uri="{FF2B5EF4-FFF2-40B4-BE49-F238E27FC236}">
                <a16:creationId xmlns:a16="http://schemas.microsoft.com/office/drawing/2014/main" id="{60216DC4-8950-91D2-D229-BF35D8CBE3FB}"/>
              </a:ext>
            </a:extLst>
          </p:cNvPr>
          <p:cNvSpPr txBox="1"/>
          <p:nvPr/>
        </p:nvSpPr>
        <p:spPr>
          <a:xfrm>
            <a:off x="13668376" y="1181100"/>
            <a:ext cx="2519363" cy="369332"/>
          </a:xfrm>
          <a:prstGeom prst="rect">
            <a:avLst/>
          </a:prstGeom>
          <a:noFill/>
        </p:spPr>
        <p:txBody>
          <a:bodyPr wrap="square" lIns="54000" rIns="54000" rtlCol="0" anchor="t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>
                <a:solidFill>
                  <a:srgbClr val="003366"/>
                </a:solidFill>
                <a:latin typeface="Arial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Arial"/>
                <a:ea typeface="Lato" panose="020F0502020204030203" pitchFamily="34" charset="0"/>
                <a:cs typeface="Lato" panose="020F0502020204030203" pitchFamily="34" charset="0"/>
              </a:rPr>
              <a:t>Indsigt</a:t>
            </a:r>
          </a:p>
        </p:txBody>
      </p:sp>
      <p:sp>
        <p:nvSpPr>
          <p:cNvPr id="34" name="Rektangel 7">
            <a:extLst>
              <a:ext uri="{FF2B5EF4-FFF2-40B4-BE49-F238E27FC236}">
                <a16:creationId xmlns:a16="http://schemas.microsoft.com/office/drawing/2014/main" id="{1EE8A156-AD82-2681-861F-9C8F1E18C1A4}"/>
              </a:ext>
            </a:extLst>
          </p:cNvPr>
          <p:cNvSpPr/>
          <p:nvPr/>
        </p:nvSpPr>
        <p:spPr>
          <a:xfrm>
            <a:off x="13639800" y="1790699"/>
            <a:ext cx="3886200" cy="7214235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1371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700" b="0" i="1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FE6D3BE-7A84-A1ED-DB1D-72B4D39D0C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91215" y="2400300"/>
            <a:ext cx="11238985" cy="632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88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30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KwxRjJEPmnY_WbU42F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7xcPk80hcLZA7sc0jH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Og1CuQiEam0GUIZNsjC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MIiRzY6PENxax6srS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N6xxsYXd9Z1sJU4vqR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qY2E2tCeMgGvMis4y_6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Kc_7o1sPCnlU_YPgSJO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W5Knx4zvCKaH7PztSf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imXZDmOtV1ga3huCUp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2sb6ZErkoXlOrtxHkZ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U17OBYs4dTd9NpcciQ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foVsDsfwHu.zfubeo1L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YEP5BHyIodYDtYNbfr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ue_Xn_NJMr5r.Pl9Mf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0Q431tb6RKeIMPJmw0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YGYwRx7PZx7mLJfvEi8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4ceU9PwvRGorUx4ocr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HqXB4LIa8L8mNYn_Xs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99j1MwlhYRR0zDNTM8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otqt8HY4hgFTM52TWKR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0NYsqj0xVws58uWVp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DC 1">
  <a:themeElements>
    <a:clrScheme name="EDC">
      <a:dk1>
        <a:srgbClr val="0D2E4D"/>
      </a:dk1>
      <a:lt1>
        <a:srgbClr val="FFFFFF"/>
      </a:lt1>
      <a:dk2>
        <a:srgbClr val="164573"/>
      </a:dk2>
      <a:lt2>
        <a:srgbClr val="F3F7F7"/>
      </a:lt2>
      <a:accent1>
        <a:srgbClr val="164573"/>
      </a:accent1>
      <a:accent2>
        <a:srgbClr val="5E7C9A"/>
      </a:accent2>
      <a:accent3>
        <a:srgbClr val="93B0CD"/>
      </a:accent3>
      <a:accent4>
        <a:srgbClr val="D2DFE0"/>
      </a:accent4>
      <a:accent5>
        <a:srgbClr val="555555"/>
      </a:accent5>
      <a:accent6>
        <a:srgbClr val="878787"/>
      </a:accent6>
      <a:hlink>
        <a:srgbClr val="4DC3D3"/>
      </a:hlink>
      <a:folHlink>
        <a:srgbClr val="93B0CD"/>
      </a:folHlink>
    </a:clrScheme>
    <a:fontScheme name="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 w="15875">
          <a:noFill/>
        </a:ln>
        <a:effectLst>
          <a:outerShdw blurRad="127000" dist="50800" dir="5400000" algn="ctr" rotWithShape="0">
            <a:srgbClr val="000000">
              <a:alpha val="20000"/>
            </a:srgbClr>
          </a:outerShdw>
        </a:effectLst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5875" cmpd="sng">
          <a:solidFill>
            <a:schemeClr val="accent4"/>
          </a:solidFill>
          <a:prstDash val="solid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807F84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DC_Præsentation_v1.5" id="{DBD6848D-CC29-0D4E-8486-33412CA37388}" vid="{CE9E7E15-7F81-2149-BC75-97478FEAFE29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ec800f3-c6d5-4ba8-8700-f68e3fd99dda" xsi:nil="true"/>
    <lcf76f155ced4ddcb4097134ff3c332f xmlns="d47cf143-6a0f-4cd9-a049-50d2ac71947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31FFDB22DB0DC46965E404FDA7ADA17" ma:contentTypeVersion="14" ma:contentTypeDescription="Opret et nyt dokument." ma:contentTypeScope="" ma:versionID="8aa4b0518634b26484b5293ce6a21067">
  <xsd:schema xmlns:xsd="http://www.w3.org/2001/XMLSchema" xmlns:xs="http://www.w3.org/2001/XMLSchema" xmlns:p="http://schemas.microsoft.com/office/2006/metadata/properties" xmlns:ns2="d47cf143-6a0f-4cd9-a049-50d2ac71947d" xmlns:ns3="6ec800f3-c6d5-4ba8-8700-f68e3fd99dda" targetNamespace="http://schemas.microsoft.com/office/2006/metadata/properties" ma:root="true" ma:fieldsID="fa2d147422b6d53640b8d89e8ddd46e0" ns2:_="" ns3:_="">
    <xsd:import namespace="d47cf143-6a0f-4cd9-a049-50d2ac71947d"/>
    <xsd:import namespace="6ec800f3-c6d5-4ba8-8700-f68e3fd99d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7cf143-6a0f-4cd9-a049-50d2ac71947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8" nillable="true" ma:taxonomy="true" ma:internalName="lcf76f155ced4ddcb4097134ff3c332f" ma:taxonomyFieldName="MediaServiceImageTags" ma:displayName="Billedmærker" ma:readOnly="false" ma:fieldId="{5cf76f15-5ced-4ddc-b409-7134ff3c332f}" ma:taxonomyMulti="true" ma:sspId="0df840ac-f7fc-41f9-90b9-d1d54ee899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c800f3-c6d5-4ba8-8700-f68e3fd99dda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51b35252-af20-400a-be5c-6ef0de29e4f4}" ma:internalName="TaxCatchAll" ma:showField="CatchAllData" ma:web="6ec800f3-c6d5-4ba8-8700-f68e3fd99d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DF688BA-7286-423F-85B4-DF248E7DDC9D}">
  <ds:schemaRefs>
    <ds:schemaRef ds:uri="http://www.w3.org/XML/1998/namespace"/>
    <ds:schemaRef ds:uri="http://purl.org/dc/terms/"/>
    <ds:schemaRef ds:uri="http://purl.org/dc/dcmitype/"/>
    <ds:schemaRef ds:uri="d47cf143-6a0f-4cd9-a049-50d2ac71947d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6ec800f3-c6d5-4ba8-8700-f68e3fd99dda"/>
  </ds:schemaRefs>
</ds:datastoreItem>
</file>

<file path=customXml/itemProps2.xml><?xml version="1.0" encoding="utf-8"?>
<ds:datastoreItem xmlns:ds="http://schemas.openxmlformats.org/officeDocument/2006/customXml" ds:itemID="{2E84A05D-1D5B-435F-A7F8-3A1A5DBBB10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98FF61-E577-4973-9F92-D05388F67D7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47cf143-6a0f-4cd9-a049-50d2ac71947d"/>
    <ds:schemaRef ds:uri="6ec800f3-c6d5-4ba8-8700-f68e3fd99dd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835</TotalTime>
  <Words>2035</Words>
  <Application>Microsoft Macintosh PowerPoint</Application>
  <PresentationFormat>Custom</PresentationFormat>
  <Paragraphs>400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Manus</vt:lpstr>
      <vt:lpstr>Arial</vt:lpstr>
      <vt:lpstr>Roboto Condensed Light</vt:lpstr>
      <vt:lpstr>Calibri</vt:lpstr>
      <vt:lpstr>Lato</vt:lpstr>
      <vt:lpstr>EDC 1</vt:lpstr>
      <vt:lpstr>think-cell Slide</vt:lpstr>
      <vt:lpstr>Boliga Marketingpakker til mægler </vt:lpstr>
      <vt:lpstr>Boliga Marketingpakker til mægler </vt:lpstr>
      <vt:lpstr>SoMe katalog – TIL MÆLGER </vt:lpstr>
      <vt:lpstr>SoMe og DBA – TIL MÆLGER </vt:lpstr>
      <vt:lpstr>SoMe, DBA og boliga.dk – TIL MÆLGER </vt:lpstr>
      <vt:lpstr>Facebook annoncer performance   </vt:lpstr>
      <vt:lpstr>DBA samarbejde </vt:lpstr>
      <vt:lpstr>DBA i Boliga annonceprodukter  </vt:lpstr>
      <vt:lpstr>DBA i Boliga annonceprodukter  </vt:lpstr>
      <vt:lpstr>DBA i Boliga annonceprodukter  </vt:lpstr>
      <vt:lpstr>Boliga på DBA </vt:lpstr>
      <vt:lpstr>Boliga på DBA </vt:lpstr>
      <vt:lpstr>Boligannoncer på boliga.dk </vt:lpstr>
      <vt:lpstr>Boligannoncer på boliga.dk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p_2021_Topdanmark samarbejde med Boliga</dc:title>
  <dc:creator>Ann-Louise Teller</dc:creator>
  <cp:lastModifiedBy>Thomas Sønderstrup</cp:lastModifiedBy>
  <cp:revision>96</cp:revision>
  <cp:lastPrinted>2023-03-02T13:45:08Z</cp:lastPrinted>
  <dcterms:created xsi:type="dcterms:W3CDTF">2006-08-16T00:00:00Z</dcterms:created>
  <dcterms:modified xsi:type="dcterms:W3CDTF">2023-03-07T11:39:13Z</dcterms:modified>
  <dc:identifier>DAEqE3zfzSk</dc:identifier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31FFDB22DB0DC46965E404FDA7ADA17</vt:lpwstr>
  </property>
</Properties>
</file>